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38"/>
  </p:notesMasterIdLst>
  <p:handoutMasterIdLst>
    <p:handoutMasterId r:id="rId39"/>
  </p:handoutMasterIdLst>
  <p:sldIdLst>
    <p:sldId id="16772939" r:id="rId10"/>
    <p:sldId id="16772971" r:id="rId11"/>
    <p:sldId id="16772940" r:id="rId12"/>
    <p:sldId id="16772945" r:id="rId13"/>
    <p:sldId id="16772946" r:id="rId14"/>
    <p:sldId id="16772972" r:id="rId15"/>
    <p:sldId id="16772948" r:id="rId16"/>
    <p:sldId id="16772953" r:id="rId17"/>
    <p:sldId id="16772954" r:id="rId18"/>
    <p:sldId id="16772955" r:id="rId19"/>
    <p:sldId id="16772956" r:id="rId20"/>
    <p:sldId id="16776352" r:id="rId21"/>
    <p:sldId id="16772957" r:id="rId22"/>
    <p:sldId id="16772967" r:id="rId23"/>
    <p:sldId id="16776364" r:id="rId24"/>
    <p:sldId id="16772968" r:id="rId25"/>
    <p:sldId id="16776353" r:id="rId26"/>
    <p:sldId id="16776354" r:id="rId27"/>
    <p:sldId id="16776355" r:id="rId28"/>
    <p:sldId id="16776356" r:id="rId29"/>
    <p:sldId id="16772960" r:id="rId30"/>
    <p:sldId id="16772961" r:id="rId31"/>
    <p:sldId id="16772962" r:id="rId32"/>
    <p:sldId id="16772964" r:id="rId33"/>
    <p:sldId id="16772966" r:id="rId34"/>
    <p:sldId id="16772947" r:id="rId35"/>
    <p:sldId id="16772970" r:id="rId36"/>
    <p:sldId id="16772963" r:id="rId37"/>
  </p:sldIdLst>
  <p:sldSz cx="12192000" cy="6858000"/>
  <p:notesSz cx="6858000" cy="9144000"/>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2971"/>
            <p14:sldId id="16772940"/>
            <p14:sldId id="16772945"/>
            <p14:sldId id="16772946"/>
            <p14:sldId id="16772972"/>
            <p14:sldId id="16772948"/>
            <p14:sldId id="16772953"/>
            <p14:sldId id="16772954"/>
            <p14:sldId id="16772955"/>
            <p14:sldId id="16772956"/>
            <p14:sldId id="16776352"/>
            <p14:sldId id="16772957"/>
            <p14:sldId id="16772967"/>
            <p14:sldId id="16776364"/>
            <p14:sldId id="16772968"/>
            <p14:sldId id="16776353"/>
            <p14:sldId id="16776354"/>
            <p14:sldId id="16776355"/>
            <p14:sldId id="16776356"/>
            <p14:sldId id="16772960"/>
            <p14:sldId id="16772961"/>
            <p14:sldId id="16772962"/>
            <p14:sldId id="16772964"/>
            <p14:sldId id="16772966"/>
            <p14:sldId id="16772947"/>
            <p14:sldId id="16772970"/>
            <p14:sldId id="1677296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46C924-1DD1-4C53-A60B-7863AFF8DFAC}" v="302" dt="2025-09-18T13:56:55.737"/>
    <p1510:client id="{5C017211-4FD9-4E05-B20F-919C8812E71E}" v="34" dt="2025-09-18T09:14:00.135"/>
    <p1510:client id="{9E891F1E-6875-4812-ACD0-C456DB8467F3}" v="2671" dt="2025-09-18T16:26:17.598"/>
    <p1510:client id="{EA457363-CD3F-4774-A955-E5C512A7DBB2}" v="158" dt="2025-09-18T10:51:22.412"/>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9" d="100"/>
          <a:sy n="129" d="100"/>
        </p:scale>
        <p:origin x="106" y="48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 zhendong/0494938/何　振東" userId="022da341-ef73-48fb-bc20-f47322bbf998" providerId="ADAL" clId="{9E891F1E-6875-4812-ACD0-C456DB8467F3}"/>
    <pc:docChg chg="undo custSel addSld delSld modSld sldOrd modMainMaster modSection">
      <pc:chgData name="he zhendong/0494938/何　振東" userId="022da341-ef73-48fb-bc20-f47322bbf998" providerId="ADAL" clId="{9E891F1E-6875-4812-ACD0-C456DB8467F3}" dt="2025-09-18T16:29:31.304" v="6976" actId="255"/>
      <pc:docMkLst>
        <pc:docMk/>
      </pc:docMkLst>
      <pc:sldChg chg="del">
        <pc:chgData name="he zhendong/0494938/何　振東" userId="022da341-ef73-48fb-bc20-f47322bbf998" providerId="ADAL" clId="{9E891F1E-6875-4812-ACD0-C456DB8467F3}" dt="2025-09-18T15:07:34.607" v="6661" actId="47"/>
        <pc:sldMkLst>
          <pc:docMk/>
          <pc:sldMk cId="0" sldId="16772934"/>
        </pc:sldMkLst>
      </pc:sldChg>
      <pc:sldChg chg="del">
        <pc:chgData name="he zhendong/0494938/何　振東" userId="022da341-ef73-48fb-bc20-f47322bbf998" providerId="ADAL" clId="{9E891F1E-6875-4812-ACD0-C456DB8467F3}" dt="2025-09-18T15:07:34.607" v="6661" actId="47"/>
        <pc:sldMkLst>
          <pc:docMk/>
          <pc:sldMk cId="0" sldId="16772935"/>
        </pc:sldMkLst>
      </pc:sldChg>
      <pc:sldChg chg="del">
        <pc:chgData name="he zhendong/0494938/何　振東" userId="022da341-ef73-48fb-bc20-f47322bbf998" providerId="ADAL" clId="{9E891F1E-6875-4812-ACD0-C456DB8467F3}" dt="2025-09-18T15:07:34.607" v="6661" actId="47"/>
        <pc:sldMkLst>
          <pc:docMk/>
          <pc:sldMk cId="0" sldId="16772937"/>
        </pc:sldMkLst>
      </pc:sldChg>
      <pc:sldChg chg="del">
        <pc:chgData name="he zhendong/0494938/何　振東" userId="022da341-ef73-48fb-bc20-f47322bbf998" providerId="ADAL" clId="{9E891F1E-6875-4812-ACD0-C456DB8467F3}" dt="2025-09-18T15:07:34.607" v="6661" actId="47"/>
        <pc:sldMkLst>
          <pc:docMk/>
          <pc:sldMk cId="0" sldId="16772938"/>
        </pc:sldMkLst>
      </pc:sldChg>
      <pc:sldChg chg="modSp mod">
        <pc:chgData name="he zhendong/0494938/何　振東" userId="022da341-ef73-48fb-bc20-f47322bbf998" providerId="ADAL" clId="{9E891F1E-6875-4812-ACD0-C456DB8467F3}" dt="2025-09-18T16:27:24.176" v="6962" actId="20577"/>
        <pc:sldMkLst>
          <pc:docMk/>
          <pc:sldMk cId="0" sldId="16772939"/>
        </pc:sldMkLst>
        <pc:spChg chg="mod">
          <ac:chgData name="he zhendong/0494938/何　振東" userId="022da341-ef73-48fb-bc20-f47322bbf998" providerId="ADAL" clId="{9E891F1E-6875-4812-ACD0-C456DB8467F3}" dt="2025-09-18T16:27:24.176" v="6962" actId="20577"/>
          <ac:spMkLst>
            <pc:docMk/>
            <pc:sldMk cId="0" sldId="16772939"/>
            <ac:spMk id="4" creationId="{00000000-0000-0000-0000-000000000000}"/>
          </ac:spMkLst>
        </pc:spChg>
      </pc:sldChg>
      <pc:sldChg chg="delSp modSp mod">
        <pc:chgData name="he zhendong/0494938/何　振東" userId="022da341-ef73-48fb-bc20-f47322bbf998" providerId="ADAL" clId="{9E891F1E-6875-4812-ACD0-C456DB8467F3}" dt="2025-09-18T16:27:49.885" v="6966" actId="20577"/>
        <pc:sldMkLst>
          <pc:docMk/>
          <pc:sldMk cId="0" sldId="16772940"/>
        </pc:sldMkLst>
        <pc:spChg chg="mod">
          <ac:chgData name="he zhendong/0494938/何　振東" userId="022da341-ef73-48fb-bc20-f47322bbf998" providerId="ADAL" clId="{9E891F1E-6875-4812-ACD0-C456DB8467F3}" dt="2025-09-18T16:27:42.900" v="6964" actId="255"/>
          <ac:spMkLst>
            <pc:docMk/>
            <pc:sldMk cId="0" sldId="16772940"/>
            <ac:spMk id="2" creationId="{00000000-0000-0000-0000-000000000000}"/>
          </ac:spMkLst>
        </pc:spChg>
        <pc:spChg chg="del">
          <ac:chgData name="he zhendong/0494938/何　振東" userId="022da341-ef73-48fb-bc20-f47322bbf998" providerId="ADAL" clId="{9E891F1E-6875-4812-ACD0-C456DB8467F3}" dt="2025-09-18T05:58:09.164" v="2270" actId="478"/>
          <ac:spMkLst>
            <pc:docMk/>
            <pc:sldMk cId="0" sldId="16772940"/>
            <ac:spMk id="3" creationId="{D590BFAE-711F-4876-DC17-4387772F69A3}"/>
          </ac:spMkLst>
        </pc:spChg>
        <pc:spChg chg="mod">
          <ac:chgData name="he zhendong/0494938/何　振東" userId="022da341-ef73-48fb-bc20-f47322bbf998" providerId="ADAL" clId="{9E891F1E-6875-4812-ACD0-C456DB8467F3}" dt="2025-09-18T16:27:49.885" v="6966" actId="20577"/>
          <ac:spMkLst>
            <pc:docMk/>
            <pc:sldMk cId="0" sldId="16772940"/>
            <ac:spMk id="15"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0" sldId="16772941"/>
        </pc:sldMkLst>
      </pc:sldChg>
      <pc:sldChg chg="del">
        <pc:chgData name="he zhendong/0494938/何　振東" userId="022da341-ef73-48fb-bc20-f47322bbf998" providerId="ADAL" clId="{9E891F1E-6875-4812-ACD0-C456DB8467F3}" dt="2025-09-18T15:07:34.607" v="6661" actId="47"/>
        <pc:sldMkLst>
          <pc:docMk/>
          <pc:sldMk cId="0" sldId="16772942"/>
        </pc:sldMkLst>
      </pc:sldChg>
      <pc:sldChg chg="del">
        <pc:chgData name="he zhendong/0494938/何　振東" userId="022da341-ef73-48fb-bc20-f47322bbf998" providerId="ADAL" clId="{9E891F1E-6875-4812-ACD0-C456DB8467F3}" dt="2025-09-18T15:07:34.607" v="6661" actId="47"/>
        <pc:sldMkLst>
          <pc:docMk/>
          <pc:sldMk cId="0" sldId="16772943"/>
        </pc:sldMkLst>
      </pc:sldChg>
      <pc:sldChg chg="del">
        <pc:chgData name="he zhendong/0494938/何　振東" userId="022da341-ef73-48fb-bc20-f47322bbf998" providerId="ADAL" clId="{9E891F1E-6875-4812-ACD0-C456DB8467F3}" dt="2025-09-18T15:07:34.607" v="6661" actId="47"/>
        <pc:sldMkLst>
          <pc:docMk/>
          <pc:sldMk cId="0" sldId="16772944"/>
        </pc:sldMkLst>
      </pc:sldChg>
      <pc:sldChg chg="delSp modSp mod">
        <pc:chgData name="he zhendong/0494938/何　振東" userId="022da341-ef73-48fb-bc20-f47322bbf998" providerId="ADAL" clId="{9E891F1E-6875-4812-ACD0-C456DB8467F3}" dt="2025-09-18T16:27:57.552" v="6967" actId="255"/>
        <pc:sldMkLst>
          <pc:docMk/>
          <pc:sldMk cId="0" sldId="16772945"/>
        </pc:sldMkLst>
        <pc:spChg chg="mod">
          <ac:chgData name="he zhendong/0494938/何　振東" userId="022da341-ef73-48fb-bc20-f47322bbf998" providerId="ADAL" clId="{9E891F1E-6875-4812-ACD0-C456DB8467F3}" dt="2025-09-18T16:27:57.552" v="6967" actId="255"/>
          <ac:spMkLst>
            <pc:docMk/>
            <pc:sldMk cId="0" sldId="16772945"/>
            <ac:spMk id="2" creationId="{00000000-0000-0000-0000-000000000000}"/>
          </ac:spMkLst>
        </pc:spChg>
        <pc:spChg chg="del">
          <ac:chgData name="he zhendong/0494938/何　振東" userId="022da341-ef73-48fb-bc20-f47322bbf998" providerId="ADAL" clId="{9E891F1E-6875-4812-ACD0-C456DB8467F3}" dt="2025-09-18T05:58:11.986" v="2271" actId="478"/>
          <ac:spMkLst>
            <pc:docMk/>
            <pc:sldMk cId="0" sldId="16772945"/>
            <ac:spMk id="3" creationId="{00000000-0000-0000-0000-000000000000}"/>
          </ac:spMkLst>
        </pc:spChg>
        <pc:spChg chg="mod">
          <ac:chgData name="he zhendong/0494938/何　振東" userId="022da341-ef73-48fb-bc20-f47322bbf998" providerId="ADAL" clId="{9E891F1E-6875-4812-ACD0-C456DB8467F3}" dt="2025-09-18T16:18:32.753" v="6897" actId="14100"/>
          <ac:spMkLst>
            <pc:docMk/>
            <pc:sldMk cId="0" sldId="16772945"/>
            <ac:spMk id="15" creationId="{00000000-0000-0000-0000-000000000000}"/>
          </ac:spMkLst>
        </pc:spChg>
      </pc:sldChg>
      <pc:sldChg chg="delSp modSp mod">
        <pc:chgData name="he zhendong/0494938/何　振東" userId="022da341-ef73-48fb-bc20-f47322bbf998" providerId="ADAL" clId="{9E891F1E-6875-4812-ACD0-C456DB8467F3}" dt="2025-09-18T16:28:03.036" v="6968" actId="255"/>
        <pc:sldMkLst>
          <pc:docMk/>
          <pc:sldMk cId="0" sldId="16772946"/>
        </pc:sldMkLst>
        <pc:spChg chg="mod">
          <ac:chgData name="he zhendong/0494938/何　振東" userId="022da341-ef73-48fb-bc20-f47322bbf998" providerId="ADAL" clId="{9E891F1E-6875-4812-ACD0-C456DB8467F3}" dt="2025-09-18T16:28:03.036" v="6968" actId="255"/>
          <ac:spMkLst>
            <pc:docMk/>
            <pc:sldMk cId="0" sldId="16772946"/>
            <ac:spMk id="2" creationId="{00000000-0000-0000-0000-000000000000}"/>
          </ac:spMkLst>
        </pc:spChg>
        <pc:spChg chg="del">
          <ac:chgData name="he zhendong/0494938/何　振東" userId="022da341-ef73-48fb-bc20-f47322bbf998" providerId="ADAL" clId="{9E891F1E-6875-4812-ACD0-C456DB8467F3}" dt="2025-09-18T05:58:16.107" v="2272" actId="478"/>
          <ac:spMkLst>
            <pc:docMk/>
            <pc:sldMk cId="0" sldId="16772946"/>
            <ac:spMk id="3" creationId="{00000000-0000-0000-0000-000000000000}"/>
          </ac:spMkLst>
        </pc:spChg>
        <pc:spChg chg="mod">
          <ac:chgData name="he zhendong/0494938/何　振東" userId="022da341-ef73-48fb-bc20-f47322bbf998" providerId="ADAL" clId="{9E891F1E-6875-4812-ACD0-C456DB8467F3}" dt="2025-09-18T16:18:39.861" v="6898" actId="14100"/>
          <ac:spMkLst>
            <pc:docMk/>
            <pc:sldMk cId="0" sldId="16772946"/>
            <ac:spMk id="15" creationId="{00000000-0000-0000-0000-000000000000}"/>
          </ac:spMkLst>
        </pc:spChg>
      </pc:sldChg>
      <pc:sldChg chg="delSp modSp mod">
        <pc:chgData name="he zhendong/0494938/何　振東" userId="022da341-ef73-48fb-bc20-f47322bbf998" providerId="ADAL" clId="{9E891F1E-6875-4812-ACD0-C456DB8467F3}" dt="2025-09-18T16:29:31.304" v="6976" actId="255"/>
        <pc:sldMkLst>
          <pc:docMk/>
          <pc:sldMk cId="2515339138" sldId="16772947"/>
        </pc:sldMkLst>
        <pc:spChg chg="mod">
          <ac:chgData name="he zhendong/0494938/何　振東" userId="022da341-ef73-48fb-bc20-f47322bbf998" providerId="ADAL" clId="{9E891F1E-6875-4812-ACD0-C456DB8467F3}" dt="2025-09-18T16:29:31.304" v="6976" actId="255"/>
          <ac:spMkLst>
            <pc:docMk/>
            <pc:sldMk cId="2515339138" sldId="16772947"/>
            <ac:spMk id="2" creationId="{00000000-0000-0000-0000-000000000000}"/>
          </ac:spMkLst>
        </pc:spChg>
        <pc:picChg chg="del">
          <ac:chgData name="he zhendong/0494938/何　振東" userId="022da341-ef73-48fb-bc20-f47322bbf998" providerId="ADAL" clId="{9E891F1E-6875-4812-ACD0-C456DB8467F3}" dt="2025-09-18T16:15:20.688" v="6833" actId="478"/>
          <ac:picMkLst>
            <pc:docMk/>
            <pc:sldMk cId="2515339138" sldId="16772947"/>
            <ac:picMk id="8" creationId="{00000000-0000-0000-0000-000000000000}"/>
          </ac:picMkLst>
        </pc:picChg>
      </pc:sldChg>
      <pc:sldChg chg="delSp modSp mod">
        <pc:chgData name="he zhendong/0494938/何　振東" userId="022da341-ef73-48fb-bc20-f47322bbf998" providerId="ADAL" clId="{9E891F1E-6875-4812-ACD0-C456DB8467F3}" dt="2025-09-18T16:28:15.842" v="6972" actId="27636"/>
        <pc:sldMkLst>
          <pc:docMk/>
          <pc:sldMk cId="0" sldId="16772948"/>
        </pc:sldMkLst>
        <pc:spChg chg="mod">
          <ac:chgData name="he zhendong/0494938/何　振東" userId="022da341-ef73-48fb-bc20-f47322bbf998" providerId="ADAL" clId="{9E891F1E-6875-4812-ACD0-C456DB8467F3}" dt="2025-09-18T16:28:15.842" v="6972" actId="27636"/>
          <ac:spMkLst>
            <pc:docMk/>
            <pc:sldMk cId="0" sldId="16772948"/>
            <ac:spMk id="2" creationId="{00000000-0000-0000-0000-000000000000}"/>
          </ac:spMkLst>
        </pc:spChg>
        <pc:spChg chg="del">
          <ac:chgData name="he zhendong/0494938/何　振東" userId="022da341-ef73-48fb-bc20-f47322bbf998" providerId="ADAL" clId="{9E891F1E-6875-4812-ACD0-C456DB8467F3}" dt="2025-09-18T05:58:25.611" v="2273" actId="478"/>
          <ac:spMkLst>
            <pc:docMk/>
            <pc:sldMk cId="0" sldId="16772948"/>
            <ac:spMk id="3" creationId="{00000000-0000-0000-0000-000000000000}"/>
          </ac:spMkLst>
        </pc:spChg>
        <pc:spChg chg="mod">
          <ac:chgData name="he zhendong/0494938/何　振東" userId="022da341-ef73-48fb-bc20-f47322bbf998" providerId="ADAL" clId="{9E891F1E-6875-4812-ACD0-C456DB8467F3}" dt="2025-09-18T12:20:03.617" v="6528"/>
          <ac:spMkLst>
            <pc:docMk/>
            <pc:sldMk cId="0" sldId="16772948"/>
            <ac:spMk id="15"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0" sldId="16772949"/>
        </pc:sldMkLst>
      </pc:sldChg>
      <pc:sldChg chg="delSp modSp mod">
        <pc:chgData name="he zhendong/0494938/何　振東" userId="022da341-ef73-48fb-bc20-f47322bbf998" providerId="ADAL" clId="{9E891F1E-6875-4812-ACD0-C456DB8467F3}" dt="2025-09-18T05:58:28.187" v="2274" actId="478"/>
        <pc:sldMkLst>
          <pc:docMk/>
          <pc:sldMk cId="0" sldId="16772953"/>
        </pc:sldMkLst>
        <pc:spChg chg="mod">
          <ac:chgData name="he zhendong/0494938/何　振東" userId="022da341-ef73-48fb-bc20-f47322bbf998" providerId="ADAL" clId="{9E891F1E-6875-4812-ACD0-C456DB8467F3}" dt="2025-09-18T05:13:03.645" v="22" actId="6549"/>
          <ac:spMkLst>
            <pc:docMk/>
            <pc:sldMk cId="0" sldId="16772953"/>
            <ac:spMk id="15" creationId="{00000000-0000-0000-0000-000000000000}"/>
          </ac:spMkLst>
        </pc:spChg>
        <pc:spChg chg="del">
          <ac:chgData name="he zhendong/0494938/何　振東" userId="022da341-ef73-48fb-bc20-f47322bbf998" providerId="ADAL" clId="{9E891F1E-6875-4812-ACD0-C456DB8467F3}" dt="2025-09-18T05:58:28.187" v="2274" actId="478"/>
          <ac:spMkLst>
            <pc:docMk/>
            <pc:sldMk cId="0" sldId="16772953"/>
            <ac:spMk id="33" creationId="{00000000-0000-0000-0000-000000000000}"/>
          </ac:spMkLst>
        </pc:spChg>
      </pc:sldChg>
      <pc:sldChg chg="delSp modSp mod">
        <pc:chgData name="he zhendong/0494938/何　振東" userId="022da341-ef73-48fb-bc20-f47322bbf998" providerId="ADAL" clId="{9E891F1E-6875-4812-ACD0-C456DB8467F3}" dt="2025-09-18T16:23:39.430" v="6942" actId="14100"/>
        <pc:sldMkLst>
          <pc:docMk/>
          <pc:sldMk cId="0" sldId="16772954"/>
        </pc:sldMkLst>
        <pc:spChg chg="del">
          <ac:chgData name="he zhendong/0494938/何　振東" userId="022da341-ef73-48fb-bc20-f47322bbf998" providerId="ADAL" clId="{9E891F1E-6875-4812-ACD0-C456DB8467F3}" dt="2025-09-18T05:58:37.404" v="2275" actId="478"/>
          <ac:spMkLst>
            <pc:docMk/>
            <pc:sldMk cId="0" sldId="16772954"/>
            <ac:spMk id="3" creationId="{00000000-0000-0000-0000-000000000000}"/>
          </ac:spMkLst>
        </pc:spChg>
        <pc:spChg chg="mod">
          <ac:chgData name="he zhendong/0494938/何　振東" userId="022da341-ef73-48fb-bc20-f47322bbf998" providerId="ADAL" clId="{9E891F1E-6875-4812-ACD0-C456DB8467F3}" dt="2025-09-18T16:23:39.430" v="6942" actId="14100"/>
          <ac:spMkLst>
            <pc:docMk/>
            <pc:sldMk cId="0" sldId="16772954"/>
            <ac:spMk id="15" creationId="{00000000-0000-0000-0000-000000000000}"/>
          </ac:spMkLst>
        </pc:spChg>
      </pc:sldChg>
      <pc:sldChg chg="addSp delSp modSp mod">
        <pc:chgData name="he zhendong/0494938/何　振東" userId="022da341-ef73-48fb-bc20-f47322bbf998" providerId="ADAL" clId="{9E891F1E-6875-4812-ACD0-C456DB8467F3}" dt="2025-09-18T16:23:06.415" v="6940" actId="1036"/>
        <pc:sldMkLst>
          <pc:docMk/>
          <pc:sldMk cId="0" sldId="16772955"/>
        </pc:sldMkLst>
        <pc:spChg chg="del mod">
          <ac:chgData name="he zhendong/0494938/何　振東" userId="022da341-ef73-48fb-bc20-f47322bbf998" providerId="ADAL" clId="{9E891F1E-6875-4812-ACD0-C456DB8467F3}" dt="2025-09-18T05:58:42.957" v="2277" actId="478"/>
          <ac:spMkLst>
            <pc:docMk/>
            <pc:sldMk cId="0" sldId="16772955"/>
            <ac:spMk id="3"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0" creationId="{611FA5FB-7620-4324-88D3-512BF9B0B1D3}"/>
          </ac:spMkLst>
        </pc:spChg>
        <pc:spChg chg="add mod">
          <ac:chgData name="he zhendong/0494938/何　振東" userId="022da341-ef73-48fb-bc20-f47322bbf998" providerId="ADAL" clId="{9E891F1E-6875-4812-ACD0-C456DB8467F3}" dt="2025-09-18T07:50:17.876" v="2684" actId="34135"/>
          <ac:spMkLst>
            <pc:docMk/>
            <pc:sldMk cId="0" sldId="16772955"/>
            <ac:spMk id="11" creationId="{A2F23E60-44C9-327D-13DD-39893E0A6278}"/>
          </ac:spMkLst>
        </pc:spChg>
        <pc:spChg chg="mod">
          <ac:chgData name="he zhendong/0494938/何　振東" userId="022da341-ef73-48fb-bc20-f47322bbf998" providerId="ADAL" clId="{9E891F1E-6875-4812-ACD0-C456DB8467F3}" dt="2025-09-18T07:50:51.949" v="2690" actId="404"/>
          <ac:spMkLst>
            <pc:docMk/>
            <pc:sldMk cId="0" sldId="16772955"/>
            <ac:spMk id="15"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7" creationId="{E25D5D8D-BA9D-B4BD-6596-D534F6178AB4}"/>
          </ac:spMkLst>
        </pc:spChg>
        <pc:spChg chg="add mod">
          <ac:chgData name="he zhendong/0494938/何　振東" userId="022da341-ef73-48fb-bc20-f47322bbf998" providerId="ADAL" clId="{9E891F1E-6875-4812-ACD0-C456DB8467F3}" dt="2025-09-18T07:50:17.876" v="2684" actId="34135"/>
          <ac:spMkLst>
            <pc:docMk/>
            <pc:sldMk cId="0" sldId="16772955"/>
            <ac:spMk id="22" creationId="{1D19EB9E-8BF7-9B70-9F7B-CCD82D95FF36}"/>
          </ac:spMkLst>
        </pc:spChg>
        <pc:spChg chg="add mod">
          <ac:chgData name="he zhendong/0494938/何　振東" userId="022da341-ef73-48fb-bc20-f47322bbf998" providerId="ADAL" clId="{9E891F1E-6875-4812-ACD0-C456DB8467F3}" dt="2025-09-18T07:49:21.442" v="2644" actId="166"/>
          <ac:spMkLst>
            <pc:docMk/>
            <pc:sldMk cId="0" sldId="16772955"/>
            <ac:spMk id="26" creationId="{27C1F174-4F20-4865-36C6-ED7EB53B8202}"/>
          </ac:spMkLst>
        </pc:spChg>
        <pc:spChg chg="add mod">
          <ac:chgData name="he zhendong/0494938/何　振東" userId="022da341-ef73-48fb-bc20-f47322bbf998" providerId="ADAL" clId="{9E891F1E-6875-4812-ACD0-C456DB8467F3}" dt="2025-09-18T07:50:17.876" v="2684" actId="34135"/>
          <ac:spMkLst>
            <pc:docMk/>
            <pc:sldMk cId="0" sldId="16772955"/>
            <ac:spMk id="27" creationId="{96C6B8BA-3036-D96F-198D-7F80076030EB}"/>
          </ac:spMkLst>
        </pc:spChg>
        <pc:spChg chg="add mod">
          <ac:chgData name="he zhendong/0494938/何　振東" userId="022da341-ef73-48fb-bc20-f47322bbf998" providerId="ADAL" clId="{9E891F1E-6875-4812-ACD0-C456DB8467F3}" dt="2025-09-18T07:50:17.876" v="2684" actId="34135"/>
          <ac:spMkLst>
            <pc:docMk/>
            <pc:sldMk cId="0" sldId="16772955"/>
            <ac:spMk id="28" creationId="{1305AC61-2ABE-194F-D3B9-A88106D091EB}"/>
          </ac:spMkLst>
        </pc:spChg>
        <pc:spChg chg="add mod">
          <ac:chgData name="he zhendong/0494938/何　振東" userId="022da341-ef73-48fb-bc20-f47322bbf998" providerId="ADAL" clId="{9E891F1E-6875-4812-ACD0-C456DB8467F3}" dt="2025-09-18T07:50:17.876" v="2684" actId="34135"/>
          <ac:spMkLst>
            <pc:docMk/>
            <pc:sldMk cId="0" sldId="16772955"/>
            <ac:spMk id="33" creationId="{6FCCFBA2-80DA-DE56-16FB-27544437267B}"/>
          </ac:spMkLst>
        </pc:spChg>
        <pc:spChg chg="add mod">
          <ac:chgData name="he zhendong/0494938/何　振東" userId="022da341-ef73-48fb-bc20-f47322bbf998" providerId="ADAL" clId="{9E891F1E-6875-4812-ACD0-C456DB8467F3}" dt="2025-09-18T07:50:17.876" v="2684" actId="34135"/>
          <ac:spMkLst>
            <pc:docMk/>
            <pc:sldMk cId="0" sldId="16772955"/>
            <ac:spMk id="34" creationId="{D080D4B5-33C2-D04C-58A4-91869F64D4F8}"/>
          </ac:spMkLst>
        </pc:spChg>
        <pc:spChg chg="add mod">
          <ac:chgData name="he zhendong/0494938/何　振東" userId="022da341-ef73-48fb-bc20-f47322bbf998" providerId="ADAL" clId="{9E891F1E-6875-4812-ACD0-C456DB8467F3}" dt="2025-09-18T07:50:17.876" v="2684" actId="34135"/>
          <ac:spMkLst>
            <pc:docMk/>
            <pc:sldMk cId="0" sldId="16772955"/>
            <ac:spMk id="35" creationId="{07156DEC-D84B-AD51-E4C1-C7745FF03A88}"/>
          </ac:spMkLst>
        </pc:spChg>
        <pc:spChg chg="add mod">
          <ac:chgData name="he zhendong/0494938/何　振東" userId="022da341-ef73-48fb-bc20-f47322bbf998" providerId="ADAL" clId="{9E891F1E-6875-4812-ACD0-C456DB8467F3}" dt="2025-09-18T16:23:02.470" v="6934" actId="14100"/>
          <ac:spMkLst>
            <pc:docMk/>
            <pc:sldMk cId="0" sldId="16772955"/>
            <ac:spMk id="36" creationId="{AB4C2A2D-9240-EDBD-C317-786B2F0B439B}"/>
          </ac:spMkLst>
        </pc:spChg>
        <pc:spChg chg="add mod">
          <ac:chgData name="he zhendong/0494938/何　振東" userId="022da341-ef73-48fb-bc20-f47322bbf998" providerId="ADAL" clId="{9E891F1E-6875-4812-ACD0-C456DB8467F3}" dt="2025-09-18T08:00:35.902" v="3438" actId="14100"/>
          <ac:spMkLst>
            <pc:docMk/>
            <pc:sldMk cId="0" sldId="16772955"/>
            <ac:spMk id="37" creationId="{5C36AF81-6A27-5DF0-5677-924E9C819293}"/>
          </ac:spMkLst>
        </pc:spChg>
        <pc:spChg chg="add del mod">
          <ac:chgData name="he zhendong/0494938/何　振東" userId="022da341-ef73-48fb-bc20-f47322bbf998" providerId="ADAL" clId="{9E891F1E-6875-4812-ACD0-C456DB8467F3}" dt="2025-09-18T07:55:02.218" v="2770" actId="478"/>
          <ac:spMkLst>
            <pc:docMk/>
            <pc:sldMk cId="0" sldId="16772955"/>
            <ac:spMk id="43" creationId="{1A8EF3E1-AF68-D652-848C-2F9266A4EC52}"/>
          </ac:spMkLst>
        </pc:spChg>
        <pc:spChg chg="add del mod">
          <ac:chgData name="he zhendong/0494938/何　振東" userId="022da341-ef73-48fb-bc20-f47322bbf998" providerId="ADAL" clId="{9E891F1E-6875-4812-ACD0-C456DB8467F3}" dt="2025-09-18T07:55:36.660" v="2779" actId="1076"/>
          <ac:spMkLst>
            <pc:docMk/>
            <pc:sldMk cId="0" sldId="16772955"/>
            <ac:spMk id="45" creationId="{AC2A33F9-D23A-E1BF-8070-8A636ECDDA05}"/>
          </ac:spMkLst>
        </pc:spChg>
        <pc:spChg chg="add del mod">
          <ac:chgData name="he zhendong/0494938/何　振東" userId="022da341-ef73-48fb-bc20-f47322bbf998" providerId="ADAL" clId="{9E891F1E-6875-4812-ACD0-C456DB8467F3}" dt="2025-09-18T07:53:49.597" v="2712" actId="478"/>
          <ac:spMkLst>
            <pc:docMk/>
            <pc:sldMk cId="0" sldId="16772955"/>
            <ac:spMk id="47" creationId="{B6E7E339-BF96-3381-EAE1-311B094853BE}"/>
          </ac:spMkLst>
        </pc:spChg>
        <pc:spChg chg="add mod">
          <ac:chgData name="he zhendong/0494938/何　振東" userId="022da341-ef73-48fb-bc20-f47322bbf998" providerId="ADAL" clId="{9E891F1E-6875-4812-ACD0-C456DB8467F3}" dt="2025-09-18T07:57:08.932" v="2806" actId="1076"/>
          <ac:spMkLst>
            <pc:docMk/>
            <pc:sldMk cId="0" sldId="16772955"/>
            <ac:spMk id="49" creationId="{CC8062C9-B741-8172-DF62-932172D25746}"/>
          </ac:spMkLst>
        </pc:spChg>
        <pc:spChg chg="add mod">
          <ac:chgData name="he zhendong/0494938/何　振東" userId="022da341-ef73-48fb-bc20-f47322bbf998" providerId="ADAL" clId="{9E891F1E-6875-4812-ACD0-C456DB8467F3}" dt="2025-09-18T07:55:41.539" v="2780" actId="1076"/>
          <ac:spMkLst>
            <pc:docMk/>
            <pc:sldMk cId="0" sldId="16772955"/>
            <ac:spMk id="50" creationId="{CB0810E1-9F6F-6930-EBC0-582CD24EFC47}"/>
          </ac:spMkLst>
        </pc:spChg>
        <pc:spChg chg="add mod">
          <ac:chgData name="he zhendong/0494938/何　振東" userId="022da341-ef73-48fb-bc20-f47322bbf998" providerId="ADAL" clId="{9E891F1E-6875-4812-ACD0-C456DB8467F3}" dt="2025-09-18T07:52:54.527" v="2701" actId="1076"/>
          <ac:spMkLst>
            <pc:docMk/>
            <pc:sldMk cId="0" sldId="16772955"/>
            <ac:spMk id="52" creationId="{240366E5-522F-BED1-7E22-A83EE668803E}"/>
          </ac:spMkLst>
        </pc:spChg>
        <pc:spChg chg="add mod">
          <ac:chgData name="he zhendong/0494938/何　振東" userId="022da341-ef73-48fb-bc20-f47322bbf998" providerId="ADAL" clId="{9E891F1E-6875-4812-ACD0-C456DB8467F3}" dt="2025-09-18T07:56:42.490" v="2798" actId="1076"/>
          <ac:spMkLst>
            <pc:docMk/>
            <pc:sldMk cId="0" sldId="16772955"/>
            <ac:spMk id="53" creationId="{B2CB038B-03D1-0D8B-10DF-6400006EECF2}"/>
          </ac:spMkLst>
        </pc:spChg>
        <pc:spChg chg="add del mod">
          <ac:chgData name="he zhendong/0494938/何　振東" userId="022da341-ef73-48fb-bc20-f47322bbf998" providerId="ADAL" clId="{9E891F1E-6875-4812-ACD0-C456DB8467F3}" dt="2025-09-18T07:53:26.681" v="2708"/>
          <ac:spMkLst>
            <pc:docMk/>
            <pc:sldMk cId="0" sldId="16772955"/>
            <ac:spMk id="54" creationId="{AB9A4878-0441-8B71-147C-3E2013F5F8CE}"/>
          </ac:spMkLst>
        </pc:spChg>
        <pc:spChg chg="add mod">
          <ac:chgData name="he zhendong/0494938/何　振東" userId="022da341-ef73-48fb-bc20-f47322bbf998" providerId="ADAL" clId="{9E891F1E-6875-4812-ACD0-C456DB8467F3}" dt="2025-09-18T07:59:39.573" v="3398" actId="1076"/>
          <ac:spMkLst>
            <pc:docMk/>
            <pc:sldMk cId="0" sldId="16772955"/>
            <ac:spMk id="59" creationId="{EEA18915-2B03-2711-02B3-AA6653EB607F}"/>
          </ac:spMkLst>
        </pc:spChg>
        <pc:spChg chg="add mod">
          <ac:chgData name="he zhendong/0494938/何　振東" userId="022da341-ef73-48fb-bc20-f47322bbf998" providerId="ADAL" clId="{9E891F1E-6875-4812-ACD0-C456DB8467F3}" dt="2025-09-18T07:56:19.551" v="2792" actId="1076"/>
          <ac:spMkLst>
            <pc:docMk/>
            <pc:sldMk cId="0" sldId="16772955"/>
            <ac:spMk id="1025" creationId="{AC3B1F0B-E566-6EF5-AAC0-CDE800C734BB}"/>
          </ac:spMkLst>
        </pc:spChg>
        <pc:spChg chg="add mod">
          <ac:chgData name="he zhendong/0494938/何　振東" userId="022da341-ef73-48fb-bc20-f47322bbf998" providerId="ADAL" clId="{9E891F1E-6875-4812-ACD0-C456DB8467F3}" dt="2025-09-18T16:23:06.415" v="6940" actId="1036"/>
          <ac:spMkLst>
            <pc:docMk/>
            <pc:sldMk cId="0" sldId="16772955"/>
            <ac:spMk id="1032" creationId="{D4139182-7A25-C154-76AA-09ACC96E7A63}"/>
          </ac:spMkLst>
        </pc:spChg>
        <pc:spChg chg="add mod">
          <ac:chgData name="he zhendong/0494938/何　振東" userId="022da341-ef73-48fb-bc20-f47322bbf998" providerId="ADAL" clId="{9E891F1E-6875-4812-ACD0-C456DB8467F3}" dt="2025-09-18T08:00:33.517" v="3437" actId="1076"/>
          <ac:spMkLst>
            <pc:docMk/>
            <pc:sldMk cId="0" sldId="16772955"/>
            <ac:spMk id="1033" creationId="{AA6A1C5F-CD32-06FC-BF97-C539693B7948}"/>
          </ac:spMkLst>
        </pc:spChg>
        <pc:picChg chg="add mod">
          <ac:chgData name="he zhendong/0494938/何　振東" userId="022da341-ef73-48fb-bc20-f47322bbf998" providerId="ADAL" clId="{9E891F1E-6875-4812-ACD0-C456DB8467F3}" dt="2025-09-18T07:42:14.879" v="2442" actId="1076"/>
          <ac:picMkLst>
            <pc:docMk/>
            <pc:sldMk cId="0" sldId="16772955"/>
            <ac:picMk id="3" creationId="{ED65042F-6CBD-AA69-6B0C-CF3722A869A9}"/>
          </ac:picMkLst>
        </pc:picChg>
        <pc:picChg chg="mod">
          <ac:chgData name="he zhendong/0494938/何　振東" userId="022da341-ef73-48fb-bc20-f47322bbf998" providerId="ADAL" clId="{9E891F1E-6875-4812-ACD0-C456DB8467F3}" dt="2025-09-18T07:53:41.608" v="2711" actId="14100"/>
          <ac:picMkLst>
            <pc:docMk/>
            <pc:sldMk cId="0" sldId="16772955"/>
            <ac:picMk id="4" creationId="{00000000-0000-0000-0000-000000000000}"/>
          </ac:picMkLst>
        </pc:picChg>
        <pc:picChg chg="add mod">
          <ac:chgData name="he zhendong/0494938/何　振東" userId="022da341-ef73-48fb-bc20-f47322bbf998" providerId="ADAL" clId="{9E891F1E-6875-4812-ACD0-C456DB8467F3}" dt="2025-09-18T07:42:57.424" v="2447" actId="108"/>
          <ac:picMkLst>
            <pc:docMk/>
            <pc:sldMk cId="0" sldId="16772955"/>
            <ac:picMk id="5" creationId="{E1ACAB65-3AB2-344A-FB04-7B15DA6A0DF0}"/>
          </ac:picMkLst>
        </pc:picChg>
        <pc:picChg chg="add mod">
          <ac:chgData name="he zhendong/0494938/何　振東" userId="022da341-ef73-48fb-bc20-f47322bbf998" providerId="ADAL" clId="{9E891F1E-6875-4812-ACD0-C456DB8467F3}" dt="2025-09-18T07:43:11.362" v="2451" actId="1076"/>
          <ac:picMkLst>
            <pc:docMk/>
            <pc:sldMk cId="0" sldId="16772955"/>
            <ac:picMk id="8" creationId="{944E0A13-6EAB-94C1-BA90-E7306C49B52F}"/>
          </ac:picMkLst>
        </pc:picChg>
        <pc:picChg chg="add mod">
          <ac:chgData name="he zhendong/0494938/何　振東" userId="022da341-ef73-48fb-bc20-f47322bbf998" providerId="ADAL" clId="{9E891F1E-6875-4812-ACD0-C456DB8467F3}" dt="2025-09-18T07:43:31.962" v="2456" actId="1076"/>
          <ac:picMkLst>
            <pc:docMk/>
            <pc:sldMk cId="0" sldId="16772955"/>
            <ac:picMk id="9" creationId="{0E7B17E4-6701-30C0-DAC9-238982F9C12A}"/>
          </ac:picMkLst>
        </pc:picChg>
        <pc:picChg chg="add mod">
          <ac:chgData name="he zhendong/0494938/何　振東" userId="022da341-ef73-48fb-bc20-f47322bbf998" providerId="ADAL" clId="{9E891F1E-6875-4812-ACD0-C456DB8467F3}" dt="2025-09-18T07:51:03.080" v="2694" actId="1076"/>
          <ac:picMkLst>
            <pc:docMk/>
            <pc:sldMk cId="0" sldId="16772955"/>
            <ac:picMk id="38" creationId="{531273D5-EDE3-11B0-B91C-0D5878763265}"/>
          </ac:picMkLst>
        </pc:picChg>
        <pc:picChg chg="add del mod">
          <ac:chgData name="he zhendong/0494938/何　振東" userId="022da341-ef73-48fb-bc20-f47322bbf998" providerId="ADAL" clId="{9E891F1E-6875-4812-ACD0-C456DB8467F3}" dt="2025-09-18T07:54:52.477" v="2767" actId="478"/>
          <ac:picMkLst>
            <pc:docMk/>
            <pc:sldMk cId="0" sldId="16772955"/>
            <ac:picMk id="39" creationId="{F255F04C-44B0-E9C4-6775-7084701CA68B}"/>
          </ac:picMkLst>
        </pc:picChg>
        <pc:picChg chg="add del mod">
          <ac:chgData name="he zhendong/0494938/何　振東" userId="022da341-ef73-48fb-bc20-f47322bbf998" providerId="ADAL" clId="{9E891F1E-6875-4812-ACD0-C456DB8467F3}" dt="2025-09-18T07:54:50.349" v="2766" actId="478"/>
          <ac:picMkLst>
            <pc:docMk/>
            <pc:sldMk cId="0" sldId="16772955"/>
            <ac:picMk id="40" creationId="{0AB5B7AC-A090-4F03-2337-C68F43B9F437}"/>
          </ac:picMkLst>
        </pc:picChg>
        <pc:picChg chg="mod">
          <ac:chgData name="he zhendong/0494938/何　振東" userId="022da341-ef73-48fb-bc20-f47322bbf998" providerId="ADAL" clId="{9E891F1E-6875-4812-ACD0-C456DB8467F3}" dt="2025-09-18T07:56:35.546" v="2795" actId="1076"/>
          <ac:picMkLst>
            <pc:docMk/>
            <pc:sldMk cId="0" sldId="16772955"/>
            <ac:picMk id="41" creationId="{8E9EFDF4-2BCC-56FD-6252-F85371325FD0}"/>
          </ac:picMkLst>
        </pc:picChg>
        <pc:picChg chg="add mod">
          <ac:chgData name="he zhendong/0494938/何　振東" userId="022da341-ef73-48fb-bc20-f47322bbf998" providerId="ADAL" clId="{9E891F1E-6875-4812-ACD0-C456DB8467F3}" dt="2025-09-18T07:52:54.527" v="2701" actId="1076"/>
          <ac:picMkLst>
            <pc:docMk/>
            <pc:sldMk cId="0" sldId="16772955"/>
            <ac:picMk id="42" creationId="{A3BE9140-324E-4754-4223-7B649CE936AB}"/>
          </ac:picMkLst>
        </pc:picChg>
        <pc:picChg chg="add mod">
          <ac:chgData name="he zhendong/0494938/何　振東" userId="022da341-ef73-48fb-bc20-f47322bbf998" providerId="ADAL" clId="{9E891F1E-6875-4812-ACD0-C456DB8467F3}" dt="2025-09-18T07:56:12.677" v="2790" actId="1076"/>
          <ac:picMkLst>
            <pc:docMk/>
            <pc:sldMk cId="0" sldId="16772955"/>
            <ac:picMk id="1026" creationId="{786172C5-BE22-6FE9-70AE-74E84586039E}"/>
          </ac:picMkLst>
        </pc:picChg>
        <pc:cxnChg chg="add del mod">
          <ac:chgData name="he zhendong/0494938/何　振東" userId="022da341-ef73-48fb-bc20-f47322bbf998" providerId="ADAL" clId="{9E891F1E-6875-4812-ACD0-C456DB8467F3}" dt="2025-09-18T07:44:12.230" v="2463" actId="478"/>
          <ac:cxnSpMkLst>
            <pc:docMk/>
            <pc:sldMk cId="0" sldId="16772955"/>
            <ac:cxnSpMk id="7" creationId="{91C6F7D0-0EF1-566B-94E4-38AACCB0A744}"/>
          </ac:cxnSpMkLst>
        </pc:cxnChg>
        <pc:cxnChg chg="add mod">
          <ac:chgData name="he zhendong/0494938/何　振東" userId="022da341-ef73-48fb-bc20-f47322bbf998" providerId="ADAL" clId="{9E891F1E-6875-4812-ACD0-C456DB8467F3}" dt="2025-09-18T07:44:49.460" v="2477" actId="1038"/>
          <ac:cxnSpMkLst>
            <pc:docMk/>
            <pc:sldMk cId="0" sldId="16772955"/>
            <ac:cxnSpMk id="12" creationId="{F5C01C4D-AD2A-566A-7BED-260CDC8A9E3E}"/>
          </ac:cxnSpMkLst>
        </pc:cxnChg>
        <pc:cxnChg chg="add mod">
          <ac:chgData name="he zhendong/0494938/何　振東" userId="022da341-ef73-48fb-bc20-f47322bbf998" providerId="ADAL" clId="{9E891F1E-6875-4812-ACD0-C456DB8467F3}" dt="2025-09-18T07:46:39.469" v="2531" actId="14100"/>
          <ac:cxnSpMkLst>
            <pc:docMk/>
            <pc:sldMk cId="0" sldId="16772955"/>
            <ac:cxnSpMk id="19" creationId="{A653D454-21AE-C69A-C473-415D31E457D1}"/>
          </ac:cxnSpMkLst>
        </pc:cxnChg>
        <pc:cxnChg chg="add mod">
          <ac:chgData name="he zhendong/0494938/何　振東" userId="022da341-ef73-48fb-bc20-f47322bbf998" providerId="ADAL" clId="{9E891F1E-6875-4812-ACD0-C456DB8467F3}" dt="2025-09-18T07:45:56.829" v="2499" actId="14100"/>
          <ac:cxnSpMkLst>
            <pc:docMk/>
            <pc:sldMk cId="0" sldId="16772955"/>
            <ac:cxnSpMk id="23" creationId="{2E4EA81E-6181-E828-3E3A-321400679CF2}"/>
          </ac:cxnSpMkLst>
        </pc:cxnChg>
        <pc:cxnChg chg="add mod">
          <ac:chgData name="he zhendong/0494938/何　振東" userId="022da341-ef73-48fb-bc20-f47322bbf998" providerId="ADAL" clId="{9E891F1E-6875-4812-ACD0-C456DB8467F3}" dt="2025-09-18T07:46:56.638" v="2536" actId="692"/>
          <ac:cxnSpMkLst>
            <pc:docMk/>
            <pc:sldMk cId="0" sldId="16772955"/>
            <ac:cxnSpMk id="30" creationId="{5F8CAA34-4EE7-0779-A287-9DF13B08A437}"/>
          </ac:cxnSpMkLst>
        </pc:cxnChg>
        <pc:cxnChg chg="del mod">
          <ac:chgData name="he zhendong/0494938/何　振東" userId="022da341-ef73-48fb-bc20-f47322bbf998" providerId="ADAL" clId="{9E891F1E-6875-4812-ACD0-C456DB8467F3}" dt="2025-09-18T07:54:56.139" v="2768" actId="478"/>
          <ac:cxnSpMkLst>
            <pc:docMk/>
            <pc:sldMk cId="0" sldId="16772955"/>
            <ac:cxnSpMk id="44" creationId="{0C90DBDA-9B63-C9A4-08BC-E9AAADA4C113}"/>
          </ac:cxnSpMkLst>
        </pc:cxnChg>
        <pc:cxnChg chg="mod">
          <ac:chgData name="he zhendong/0494938/何　振東" userId="022da341-ef73-48fb-bc20-f47322bbf998" providerId="ADAL" clId="{9E891F1E-6875-4812-ACD0-C456DB8467F3}" dt="2025-09-18T07:56:54.463" v="2801" actId="14100"/>
          <ac:cxnSpMkLst>
            <pc:docMk/>
            <pc:sldMk cId="0" sldId="16772955"/>
            <ac:cxnSpMk id="46" creationId="{5B278C19-41EF-91A0-1330-9B5E1F8D5D0B}"/>
          </ac:cxnSpMkLst>
        </pc:cxnChg>
        <pc:cxnChg chg="del mod">
          <ac:chgData name="he zhendong/0494938/何　振東" userId="022da341-ef73-48fb-bc20-f47322bbf998" providerId="ADAL" clId="{9E891F1E-6875-4812-ACD0-C456DB8467F3}" dt="2025-09-18T07:55:22.527" v="2776" actId="478"/>
          <ac:cxnSpMkLst>
            <pc:docMk/>
            <pc:sldMk cId="0" sldId="16772955"/>
            <ac:cxnSpMk id="48" creationId="{083647A5-C03A-C961-F6E4-06D3EEA69907}"/>
          </ac:cxnSpMkLst>
        </pc:cxnChg>
        <pc:cxnChg chg="mod">
          <ac:chgData name="he zhendong/0494938/何　振東" userId="022da341-ef73-48fb-bc20-f47322bbf998" providerId="ADAL" clId="{9E891F1E-6875-4812-ACD0-C456DB8467F3}" dt="2025-09-18T07:56:37.918" v="2796" actId="14100"/>
          <ac:cxnSpMkLst>
            <pc:docMk/>
            <pc:sldMk cId="0" sldId="16772955"/>
            <ac:cxnSpMk id="51" creationId="{612AF02D-1591-6E53-3562-7292BCCAE86D}"/>
          </ac:cxnSpMkLst>
        </pc:cxnChg>
      </pc:sldChg>
      <pc:sldChg chg="delSp modSp mod">
        <pc:chgData name="he zhendong/0494938/何　振東" userId="022da341-ef73-48fb-bc20-f47322bbf998" providerId="ADAL" clId="{9E891F1E-6875-4812-ACD0-C456DB8467F3}" dt="2025-09-18T16:28:33.537" v="6974" actId="27636"/>
        <pc:sldMkLst>
          <pc:docMk/>
          <pc:sldMk cId="0" sldId="16772956"/>
        </pc:sldMkLst>
        <pc:spChg chg="mod">
          <ac:chgData name="he zhendong/0494938/何　振東" userId="022da341-ef73-48fb-bc20-f47322bbf998" providerId="ADAL" clId="{9E891F1E-6875-4812-ACD0-C456DB8467F3}" dt="2025-09-18T16:28:33.537" v="6974" actId="27636"/>
          <ac:spMkLst>
            <pc:docMk/>
            <pc:sldMk cId="0" sldId="16772956"/>
            <ac:spMk id="2" creationId="{00000000-0000-0000-0000-000000000000}"/>
          </ac:spMkLst>
        </pc:spChg>
        <pc:spChg chg="del">
          <ac:chgData name="he zhendong/0494938/何　振東" userId="022da341-ef73-48fb-bc20-f47322bbf998" providerId="ADAL" clId="{9E891F1E-6875-4812-ACD0-C456DB8467F3}" dt="2025-09-18T05:58:48.699" v="2278" actId="478"/>
          <ac:spMkLst>
            <pc:docMk/>
            <pc:sldMk cId="0" sldId="16772956"/>
            <ac:spMk id="7" creationId="{00000000-0000-0000-0000-000000000000}"/>
          </ac:spMkLst>
        </pc:spChg>
        <pc:spChg chg="mod">
          <ac:chgData name="he zhendong/0494938/何　振東" userId="022da341-ef73-48fb-bc20-f47322bbf998" providerId="ADAL" clId="{9E891F1E-6875-4812-ACD0-C456DB8467F3}" dt="2025-09-18T05:13:48.838" v="23" actId="404"/>
          <ac:spMkLst>
            <pc:docMk/>
            <pc:sldMk cId="0" sldId="16772956"/>
            <ac:spMk id="15" creationId="{00000000-0000-0000-0000-000000000000}"/>
          </ac:spMkLst>
        </pc:spChg>
        <pc:graphicFrameChg chg="mod modGraphic">
          <ac:chgData name="he zhendong/0494938/何　振東" userId="022da341-ef73-48fb-bc20-f47322bbf998" providerId="ADAL" clId="{9E891F1E-6875-4812-ACD0-C456DB8467F3}" dt="2025-09-18T16:07:45.130" v="6663" actId="13242"/>
          <ac:graphicFrameMkLst>
            <pc:docMk/>
            <pc:sldMk cId="0" sldId="16772956"/>
            <ac:graphicFrameMk id="6" creationId="{00000000-0000-0000-0000-000000000000}"/>
          </ac:graphicFrameMkLst>
        </pc:graphicFrameChg>
      </pc:sldChg>
      <pc:sldChg chg="delSp modSp mod">
        <pc:chgData name="he zhendong/0494938/何　振東" userId="022da341-ef73-48fb-bc20-f47322bbf998" providerId="ADAL" clId="{9E891F1E-6875-4812-ACD0-C456DB8467F3}" dt="2025-09-18T05:59:14.569" v="2293"/>
        <pc:sldMkLst>
          <pc:docMk/>
          <pc:sldMk cId="0" sldId="16772957"/>
        </pc:sldMkLst>
        <pc:spChg chg="mod">
          <ac:chgData name="he zhendong/0494938/何　振東" userId="022da341-ef73-48fb-bc20-f47322bbf998" providerId="ADAL" clId="{9E891F1E-6875-4812-ACD0-C456DB8467F3}" dt="2025-09-18T05:59:14.569" v="2293"/>
          <ac:spMkLst>
            <pc:docMk/>
            <pc:sldMk cId="0" sldId="16772957"/>
            <ac:spMk id="2" creationId="{00000000-0000-0000-0000-000000000000}"/>
          </ac:spMkLst>
        </pc:spChg>
        <pc:spChg chg="del">
          <ac:chgData name="he zhendong/0494938/何　振東" userId="022da341-ef73-48fb-bc20-f47322bbf998" providerId="ADAL" clId="{9E891F1E-6875-4812-ACD0-C456DB8467F3}" dt="2025-09-18T05:58:57.187" v="2280" actId="478"/>
          <ac:spMkLst>
            <pc:docMk/>
            <pc:sldMk cId="0" sldId="16772957"/>
            <ac:spMk id="3"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2057660554" sldId="16772958"/>
        </pc:sldMkLst>
      </pc:sldChg>
      <pc:sldChg chg="del">
        <pc:chgData name="he zhendong/0494938/何　振東" userId="022da341-ef73-48fb-bc20-f47322bbf998" providerId="ADAL" clId="{9E891F1E-6875-4812-ACD0-C456DB8467F3}" dt="2025-09-18T15:07:34.607" v="6661" actId="47"/>
        <pc:sldMkLst>
          <pc:docMk/>
          <pc:sldMk cId="282240151" sldId="16772959"/>
        </pc:sldMkLst>
      </pc:sldChg>
      <pc:sldChg chg="delSp modSp mod">
        <pc:chgData name="he zhendong/0494938/何　振東" userId="022da341-ef73-48fb-bc20-f47322bbf998" providerId="ADAL" clId="{9E891F1E-6875-4812-ACD0-C456DB8467F3}" dt="2025-09-18T16:29:08.804" v="6975" actId="108"/>
        <pc:sldMkLst>
          <pc:docMk/>
          <pc:sldMk cId="0" sldId="16772960"/>
        </pc:sldMkLst>
        <pc:spChg chg="mod">
          <ac:chgData name="he zhendong/0494938/何　振東" userId="022da341-ef73-48fb-bc20-f47322bbf998" providerId="ADAL" clId="{9E891F1E-6875-4812-ACD0-C456DB8467F3}" dt="2025-09-18T16:29:08.804" v="6975" actId="108"/>
          <ac:spMkLst>
            <pc:docMk/>
            <pc:sldMk cId="0" sldId="16772960"/>
            <ac:spMk id="2" creationId="{00000000-0000-0000-0000-000000000000}"/>
          </ac:spMkLst>
        </pc:spChg>
        <pc:spChg chg="del">
          <ac:chgData name="he zhendong/0494938/何　振東" userId="022da341-ef73-48fb-bc20-f47322bbf998" providerId="ADAL" clId="{9E891F1E-6875-4812-ACD0-C456DB8467F3}" dt="2025-09-18T16:15:09.817" v="6832" actId="478"/>
          <ac:spMkLst>
            <pc:docMk/>
            <pc:sldMk cId="0" sldId="16772960"/>
            <ac:spMk id="3" creationId="{00000000-0000-0000-0000-000000000000}"/>
          </ac:spMkLst>
        </pc:spChg>
        <pc:spChg chg="del mod">
          <ac:chgData name="he zhendong/0494938/何　振東" userId="022da341-ef73-48fb-bc20-f47322bbf998" providerId="ADAL" clId="{9E891F1E-6875-4812-ACD0-C456DB8467F3}" dt="2025-09-18T05:19:18.492" v="1266" actId="478"/>
          <ac:spMkLst>
            <pc:docMk/>
            <pc:sldMk cId="0" sldId="16772960"/>
            <ac:spMk id="15" creationId="{00000000-0000-0000-0000-000000000000}"/>
          </ac:spMkLst>
        </pc:spChg>
        <pc:graphicFrameChg chg="mod modGraphic">
          <ac:chgData name="he zhendong/0494938/何　振東" userId="022da341-ef73-48fb-bc20-f47322bbf998" providerId="ADAL" clId="{9E891F1E-6875-4812-ACD0-C456DB8467F3}" dt="2025-09-18T05:19:23.633" v="1268" actId="14100"/>
          <ac:graphicFrameMkLst>
            <pc:docMk/>
            <pc:sldMk cId="0" sldId="16772960"/>
            <ac:graphicFrameMk id="4" creationId="{9364F8F7-8993-8F9F-93B4-950689A63292}"/>
          </ac:graphicFrameMkLst>
        </pc:graphicFrameChg>
      </pc:sldChg>
      <pc:sldChg chg="addSp delSp modSp mod">
        <pc:chgData name="he zhendong/0494938/何　振東" userId="022da341-ef73-48fb-bc20-f47322bbf998" providerId="ADAL" clId="{9E891F1E-6875-4812-ACD0-C456DB8467F3}" dt="2025-09-18T16:25:43.772" v="6950" actId="14100"/>
        <pc:sldMkLst>
          <pc:docMk/>
          <pc:sldMk cId="0" sldId="16772961"/>
        </pc:sldMkLst>
        <pc:spChg chg="add mod">
          <ac:chgData name="he zhendong/0494938/何　振東" userId="022da341-ef73-48fb-bc20-f47322bbf998" providerId="ADAL" clId="{9E891F1E-6875-4812-ACD0-C456DB8467F3}" dt="2025-09-18T06:01:55.454" v="2310" actId="692"/>
          <ac:spMkLst>
            <pc:docMk/>
            <pc:sldMk cId="0" sldId="16772961"/>
            <ac:spMk id="3" creationId="{81BD2CC8-5AF4-CBDE-B7B8-3BA5DFF36E09}"/>
          </ac:spMkLst>
        </pc:spChg>
        <pc:spChg chg="del">
          <ac:chgData name="he zhendong/0494938/何　振東" userId="022da341-ef73-48fb-bc20-f47322bbf998" providerId="ADAL" clId="{9E891F1E-6875-4812-ACD0-C456DB8467F3}" dt="2025-09-18T16:15:48.197" v="6836" actId="21"/>
          <ac:spMkLst>
            <pc:docMk/>
            <pc:sldMk cId="0" sldId="16772961"/>
            <ac:spMk id="4" creationId="{46479C0B-EF1F-FE5D-D4B2-275E40A366DC}"/>
          </ac:spMkLst>
        </pc:spChg>
        <pc:spChg chg="del">
          <ac:chgData name="he zhendong/0494938/何　振東" userId="022da341-ef73-48fb-bc20-f47322bbf998" providerId="ADAL" clId="{9E891F1E-6875-4812-ACD0-C456DB8467F3}" dt="2025-09-18T16:15:38.950" v="6835" actId="478"/>
          <ac:spMkLst>
            <pc:docMk/>
            <pc:sldMk cId="0" sldId="16772961"/>
            <ac:spMk id="5" creationId="{48C16A81-C68A-3DD7-3A10-D4B6201F7F09}"/>
          </ac:spMkLst>
        </pc:spChg>
        <pc:spChg chg="add del">
          <ac:chgData name="he zhendong/0494938/何　振東" userId="022da341-ef73-48fb-bc20-f47322bbf998" providerId="ADAL" clId="{9E891F1E-6875-4812-ACD0-C456DB8467F3}" dt="2025-09-18T09:04:37.104" v="5631" actId="478"/>
          <ac:spMkLst>
            <pc:docMk/>
            <pc:sldMk cId="0" sldId="16772961"/>
            <ac:spMk id="6" creationId="{9835B429-8BA1-DFD9-8CD2-E95B5D18373C}"/>
          </ac:spMkLst>
        </pc:spChg>
        <pc:spChg chg="add mod">
          <ac:chgData name="he zhendong/0494938/何　振東" userId="022da341-ef73-48fb-bc20-f47322bbf998" providerId="ADAL" clId="{9E891F1E-6875-4812-ACD0-C456DB8467F3}" dt="2025-09-18T12:48:45.766" v="6647" actId="1038"/>
          <ac:spMkLst>
            <pc:docMk/>
            <pc:sldMk cId="0" sldId="16772961"/>
            <ac:spMk id="7" creationId="{0156BDFD-E0EA-04DE-E6E8-55BA3E349755}"/>
          </ac:spMkLst>
        </pc:spChg>
        <pc:spChg chg="mod">
          <ac:chgData name="he zhendong/0494938/何　振東" userId="022da341-ef73-48fb-bc20-f47322bbf998" providerId="ADAL" clId="{9E891F1E-6875-4812-ACD0-C456DB8467F3}" dt="2025-09-18T16:25:43.772" v="6950" actId="14100"/>
          <ac:spMkLst>
            <pc:docMk/>
            <pc:sldMk cId="0" sldId="16772961"/>
            <ac:spMk id="10" creationId="{E44B76A0-0272-1390-DBE5-63E5B5A913F3}"/>
          </ac:spMkLst>
        </pc:spChg>
        <pc:spChg chg="mod">
          <ac:chgData name="he zhendong/0494938/何　振東" userId="022da341-ef73-48fb-bc20-f47322bbf998" providerId="ADAL" clId="{9E891F1E-6875-4812-ACD0-C456DB8467F3}" dt="2025-09-18T16:15:59.345" v="6866" actId="1035"/>
          <ac:spMkLst>
            <pc:docMk/>
            <pc:sldMk cId="0" sldId="16772961"/>
            <ac:spMk id="12" creationId="{99C8C7D3-4385-E7F7-5D50-FB6089D5BD87}"/>
          </ac:spMkLst>
        </pc:spChg>
        <pc:spChg chg="mod">
          <ac:chgData name="he zhendong/0494938/何　振東" userId="022da341-ef73-48fb-bc20-f47322bbf998" providerId="ADAL" clId="{9E891F1E-6875-4812-ACD0-C456DB8467F3}" dt="2025-09-18T16:15:59.345" v="6866" actId="1035"/>
          <ac:spMkLst>
            <pc:docMk/>
            <pc:sldMk cId="0" sldId="16772961"/>
            <ac:spMk id="13" creationId="{20F437F9-F1E3-7A6E-D183-3524B7764422}"/>
          </ac:spMkLst>
        </pc:spChg>
        <pc:spChg chg="mod">
          <ac:chgData name="he zhendong/0494938/何　振東" userId="022da341-ef73-48fb-bc20-f47322bbf998" providerId="ADAL" clId="{9E891F1E-6875-4812-ACD0-C456DB8467F3}" dt="2025-09-18T12:48:45.766" v="6647" actId="1038"/>
          <ac:spMkLst>
            <pc:docMk/>
            <pc:sldMk cId="0" sldId="16772961"/>
            <ac:spMk id="14" creationId="{42AE617F-8791-7DF1-3A74-EE8EFFB19FB9}"/>
          </ac:spMkLst>
        </pc:spChg>
        <pc:spChg chg="add mod">
          <ac:chgData name="he zhendong/0494938/何　振東" userId="022da341-ef73-48fb-bc20-f47322bbf998" providerId="ADAL" clId="{9E891F1E-6875-4812-ACD0-C456DB8467F3}" dt="2025-09-18T09:09:21.578" v="5759" actId="113"/>
          <ac:spMkLst>
            <pc:docMk/>
            <pc:sldMk cId="0" sldId="16772961"/>
            <ac:spMk id="16" creationId="{3B2AFFD5-2193-A6D2-7ED0-36818492A140}"/>
          </ac:spMkLst>
        </pc:spChg>
        <pc:spChg chg="mod">
          <ac:chgData name="he zhendong/0494938/何　振東" userId="022da341-ef73-48fb-bc20-f47322bbf998" providerId="ADAL" clId="{9E891F1E-6875-4812-ACD0-C456DB8467F3}" dt="2025-09-18T12:48:45.766" v="6647" actId="1038"/>
          <ac:spMkLst>
            <pc:docMk/>
            <pc:sldMk cId="0" sldId="16772961"/>
            <ac:spMk id="22" creationId="{EB6975E9-868C-47F9-4909-53F9D70BFA82}"/>
          </ac:spMkLst>
        </pc:spChg>
        <pc:spChg chg="mod">
          <ac:chgData name="he zhendong/0494938/何　振東" userId="022da341-ef73-48fb-bc20-f47322bbf998" providerId="ADAL" clId="{9E891F1E-6875-4812-ACD0-C456DB8467F3}" dt="2025-09-18T16:15:59.345" v="6866" actId="1035"/>
          <ac:spMkLst>
            <pc:docMk/>
            <pc:sldMk cId="0" sldId="16772961"/>
            <ac:spMk id="31" creationId="{8A4E1765-5EB8-9556-412C-EE2ACFBB11FA}"/>
          </ac:spMkLst>
        </pc:spChg>
        <pc:spChg chg="mod">
          <ac:chgData name="he zhendong/0494938/何　振東" userId="022da341-ef73-48fb-bc20-f47322bbf998" providerId="ADAL" clId="{9E891F1E-6875-4812-ACD0-C456DB8467F3}" dt="2025-09-18T12:48:45.766" v="6647" actId="1038"/>
          <ac:spMkLst>
            <pc:docMk/>
            <pc:sldMk cId="0" sldId="16772961"/>
            <ac:spMk id="32" creationId="{75D896C3-1B62-79A9-025B-DA7A49AFB8AE}"/>
          </ac:spMkLst>
        </pc:spChg>
        <pc:spChg chg="mod">
          <ac:chgData name="he zhendong/0494938/何　振東" userId="022da341-ef73-48fb-bc20-f47322bbf998" providerId="ADAL" clId="{9E891F1E-6875-4812-ACD0-C456DB8467F3}" dt="2025-09-18T12:48:45.766" v="6647" actId="1038"/>
          <ac:spMkLst>
            <pc:docMk/>
            <pc:sldMk cId="0" sldId="16772961"/>
            <ac:spMk id="33" creationId="{FDFB3CBF-574A-7598-3BE2-A3A922FB82C2}"/>
          </ac:spMkLst>
        </pc:spChg>
        <pc:spChg chg="mod">
          <ac:chgData name="he zhendong/0494938/何　振東" userId="022da341-ef73-48fb-bc20-f47322bbf998" providerId="ADAL" clId="{9E891F1E-6875-4812-ACD0-C456DB8467F3}" dt="2025-09-18T16:15:59.345" v="6866" actId="1035"/>
          <ac:spMkLst>
            <pc:docMk/>
            <pc:sldMk cId="0" sldId="16772961"/>
            <ac:spMk id="34" creationId="{ADC1CB54-7557-F51B-A295-A98362CFC3C2}"/>
          </ac:spMkLst>
        </pc:spChg>
        <pc:spChg chg="mod">
          <ac:chgData name="he zhendong/0494938/何　振東" userId="022da341-ef73-48fb-bc20-f47322bbf998" providerId="ADAL" clId="{9E891F1E-6875-4812-ACD0-C456DB8467F3}" dt="2025-09-18T05:20:22.680" v="1279" actId="255"/>
          <ac:spMkLst>
            <pc:docMk/>
            <pc:sldMk cId="0" sldId="16772961"/>
            <ac:spMk id="36" creationId="{DF6ADFB0-EEC2-C0DF-C02A-46809441BAEA}"/>
          </ac:spMkLst>
        </pc:spChg>
        <pc:spChg chg="mod">
          <ac:chgData name="he zhendong/0494938/何　振東" userId="022da341-ef73-48fb-bc20-f47322bbf998" providerId="ADAL" clId="{9E891F1E-6875-4812-ACD0-C456DB8467F3}" dt="2025-09-18T05:20:22.680" v="1279" actId="255"/>
          <ac:spMkLst>
            <pc:docMk/>
            <pc:sldMk cId="0" sldId="16772961"/>
            <ac:spMk id="37" creationId="{4AABB290-6FE3-0414-F530-6FBE6D132164}"/>
          </ac:spMkLst>
        </pc:spChg>
        <pc:spChg chg="del">
          <ac:chgData name="he zhendong/0494938/何　振東" userId="022da341-ef73-48fb-bc20-f47322bbf998" providerId="ADAL" clId="{9E891F1E-6875-4812-ACD0-C456DB8467F3}" dt="2025-09-18T12:50:08.972" v="6650" actId="478"/>
          <ac:spMkLst>
            <pc:docMk/>
            <pc:sldMk cId="0" sldId="16772961"/>
            <ac:spMk id="39" creationId="{2CF6786F-A11A-BF24-ABCC-20C0AA894223}"/>
          </ac:spMkLst>
        </pc:spChg>
        <pc:spChg chg="mod">
          <ac:chgData name="he zhendong/0494938/何　振東" userId="022da341-ef73-48fb-bc20-f47322bbf998" providerId="ADAL" clId="{9E891F1E-6875-4812-ACD0-C456DB8467F3}" dt="2025-09-18T16:15:59.345" v="6866" actId="1035"/>
          <ac:spMkLst>
            <pc:docMk/>
            <pc:sldMk cId="0" sldId="16772961"/>
            <ac:spMk id="43" creationId="{D521F013-820D-C57C-BFB9-27E05AD16713}"/>
          </ac:spMkLst>
        </pc:spChg>
        <pc:spChg chg="mod">
          <ac:chgData name="he zhendong/0494938/何　振東" userId="022da341-ef73-48fb-bc20-f47322bbf998" providerId="ADAL" clId="{9E891F1E-6875-4812-ACD0-C456DB8467F3}" dt="2025-09-18T16:25:27.163" v="6949" actId="555"/>
          <ac:spMkLst>
            <pc:docMk/>
            <pc:sldMk cId="0" sldId="16772961"/>
            <ac:spMk id="45" creationId="{B44AFE27-A04B-B1FC-53B4-85B5D558C077}"/>
          </ac:spMkLst>
        </pc:spChg>
        <pc:spChg chg="mod">
          <ac:chgData name="he zhendong/0494938/何　振東" userId="022da341-ef73-48fb-bc20-f47322bbf998" providerId="ADAL" clId="{9E891F1E-6875-4812-ACD0-C456DB8467F3}" dt="2025-09-18T16:25:27.163" v="6949" actId="555"/>
          <ac:spMkLst>
            <pc:docMk/>
            <pc:sldMk cId="0" sldId="16772961"/>
            <ac:spMk id="47" creationId="{C0F98B3F-0A08-B70D-6FDD-5CFCD5782A97}"/>
          </ac:spMkLst>
        </pc:spChg>
        <pc:spChg chg="mod">
          <ac:chgData name="he zhendong/0494938/何　振東" userId="022da341-ef73-48fb-bc20-f47322bbf998" providerId="ADAL" clId="{9E891F1E-6875-4812-ACD0-C456DB8467F3}" dt="2025-09-18T16:25:27.163" v="6949" actId="555"/>
          <ac:spMkLst>
            <pc:docMk/>
            <pc:sldMk cId="0" sldId="16772961"/>
            <ac:spMk id="49" creationId="{F13DC96F-04BE-10EA-9C42-2EB6895085A9}"/>
          </ac:spMkLst>
        </pc:spChg>
        <pc:spChg chg="mod">
          <ac:chgData name="he zhendong/0494938/何　振東" userId="022da341-ef73-48fb-bc20-f47322bbf998" providerId="ADAL" clId="{9E891F1E-6875-4812-ACD0-C456DB8467F3}" dt="2025-09-18T16:25:27.163" v="6949" actId="555"/>
          <ac:spMkLst>
            <pc:docMk/>
            <pc:sldMk cId="0" sldId="16772961"/>
            <ac:spMk id="51" creationId="{DE56DBCE-35B5-5363-D554-A7AE280BD8BB}"/>
          </ac:spMkLst>
        </pc:spChg>
        <pc:spChg chg="mod">
          <ac:chgData name="he zhendong/0494938/何　振東" userId="022da341-ef73-48fb-bc20-f47322bbf998" providerId="ADAL" clId="{9E891F1E-6875-4812-ACD0-C456DB8467F3}" dt="2025-09-18T12:49:49.657" v="6648" actId="14100"/>
          <ac:spMkLst>
            <pc:docMk/>
            <pc:sldMk cId="0" sldId="16772961"/>
            <ac:spMk id="55" creationId="{4B115AEA-6E76-3FFE-8146-C00089B179C2}"/>
          </ac:spMkLst>
        </pc:spChg>
        <pc:spChg chg="mod">
          <ac:chgData name="he zhendong/0494938/何　振東" userId="022da341-ef73-48fb-bc20-f47322bbf998" providerId="ADAL" clId="{9E891F1E-6875-4812-ACD0-C456DB8467F3}" dt="2025-09-18T12:49:52.571" v="6649" actId="14100"/>
          <ac:spMkLst>
            <pc:docMk/>
            <pc:sldMk cId="0" sldId="16772961"/>
            <ac:spMk id="56" creationId="{0B36B7ED-11D3-ABA2-07F3-E5C3B6903DB8}"/>
          </ac:spMkLst>
        </pc:spChg>
        <pc:spChg chg="mod">
          <ac:chgData name="he zhendong/0494938/何　振東" userId="022da341-ef73-48fb-bc20-f47322bbf998" providerId="ADAL" clId="{9E891F1E-6875-4812-ACD0-C456DB8467F3}" dt="2025-09-18T16:15:59.345" v="6866" actId="1035"/>
          <ac:spMkLst>
            <pc:docMk/>
            <pc:sldMk cId="0" sldId="16772961"/>
            <ac:spMk id="58" creationId="{81417237-7BCD-B6EA-422F-3FC08177AC37}"/>
          </ac:spMkLst>
        </pc:spChg>
        <pc:spChg chg="mod">
          <ac:chgData name="he zhendong/0494938/何　振東" userId="022da341-ef73-48fb-bc20-f47322bbf998" providerId="ADAL" clId="{9E891F1E-6875-4812-ACD0-C456DB8467F3}" dt="2025-09-18T16:14:01.108" v="6816" actId="242"/>
          <ac:spMkLst>
            <pc:docMk/>
            <pc:sldMk cId="0" sldId="16772961"/>
            <ac:spMk id="63" creationId="{5AB9770A-D1EA-5FD6-9999-322CC1586E80}"/>
          </ac:spMkLst>
        </pc:spChg>
        <pc:spChg chg="mod">
          <ac:chgData name="he zhendong/0494938/何　振東" userId="022da341-ef73-48fb-bc20-f47322bbf998" providerId="ADAL" clId="{9E891F1E-6875-4812-ACD0-C456DB8467F3}" dt="2025-09-18T16:14:01.108" v="6816" actId="242"/>
          <ac:spMkLst>
            <pc:docMk/>
            <pc:sldMk cId="0" sldId="16772961"/>
            <ac:spMk id="65" creationId="{4B94B9BA-AB77-F1CD-5430-C55DE238BE62}"/>
          </ac:spMkLst>
        </pc:spChg>
        <pc:spChg chg="mod">
          <ac:chgData name="he zhendong/0494938/何　振東" userId="022da341-ef73-48fb-bc20-f47322bbf998" providerId="ADAL" clId="{9E891F1E-6875-4812-ACD0-C456DB8467F3}" dt="2025-09-18T16:25:27.163" v="6949" actId="555"/>
          <ac:spMkLst>
            <pc:docMk/>
            <pc:sldMk cId="0" sldId="16772961"/>
            <ac:spMk id="67" creationId="{259D0577-A5C0-FE48-C7EE-6684D79BA595}"/>
          </ac:spMkLst>
        </pc:spChg>
        <pc:spChg chg="mod">
          <ac:chgData name="he zhendong/0494938/何　振東" userId="022da341-ef73-48fb-bc20-f47322bbf998" providerId="ADAL" clId="{9E891F1E-6875-4812-ACD0-C456DB8467F3}" dt="2025-09-18T16:25:27.163" v="6949" actId="555"/>
          <ac:spMkLst>
            <pc:docMk/>
            <pc:sldMk cId="0" sldId="16772961"/>
            <ac:spMk id="70" creationId="{445069B9-4D77-023E-84D7-7DE311C7EBEB}"/>
          </ac:spMkLst>
        </pc:spChg>
        <pc:spChg chg="mod">
          <ac:chgData name="he zhendong/0494938/何　振東" userId="022da341-ef73-48fb-bc20-f47322bbf998" providerId="ADAL" clId="{9E891F1E-6875-4812-ACD0-C456DB8467F3}" dt="2025-09-18T16:15:59.345" v="6866" actId="1035"/>
          <ac:spMkLst>
            <pc:docMk/>
            <pc:sldMk cId="0" sldId="16772961"/>
            <ac:spMk id="75" creationId="{0AABA1AE-3FCC-5B32-DB85-E4F452E1A67E}"/>
          </ac:spMkLst>
        </pc:spChg>
        <pc:graphicFrameChg chg="add del mod modGraphic">
          <ac:chgData name="he zhendong/0494938/何　振東" userId="022da341-ef73-48fb-bc20-f47322bbf998" providerId="ADAL" clId="{9E891F1E-6875-4812-ACD0-C456DB8467F3}" dt="2025-09-18T09:05:38.305" v="5646" actId="478"/>
          <ac:graphicFrameMkLst>
            <pc:docMk/>
            <pc:sldMk cId="0" sldId="16772961"/>
            <ac:graphicFrameMk id="8" creationId="{129760A7-B8D6-BB79-9734-803E92425A01}"/>
          </ac:graphicFrameMkLst>
        </pc:graphicFrameChg>
        <pc:graphicFrameChg chg="add mod modGraphic">
          <ac:chgData name="he zhendong/0494938/何　振東" userId="022da341-ef73-48fb-bc20-f47322bbf998" providerId="ADAL" clId="{9E891F1E-6875-4812-ACD0-C456DB8467F3}" dt="2025-09-18T09:08:18.845" v="5677" actId="1076"/>
          <ac:graphicFrameMkLst>
            <pc:docMk/>
            <pc:sldMk cId="0" sldId="16772961"/>
            <ac:graphicFrameMk id="9" creationId="{1B049202-C3C6-E6F7-1181-53CD19D188C8}"/>
          </ac:graphicFrameMkLst>
        </pc:graphicFrameChg>
        <pc:cxnChg chg="mod">
          <ac:chgData name="he zhendong/0494938/何　振東" userId="022da341-ef73-48fb-bc20-f47322bbf998" providerId="ADAL" clId="{9E891F1E-6875-4812-ACD0-C456DB8467F3}" dt="2025-09-18T05:19:38.098" v="1272" actId="1038"/>
          <ac:cxnSpMkLst>
            <pc:docMk/>
            <pc:sldMk cId="0" sldId="16772961"/>
            <ac:cxnSpMk id="27" creationId="{226E2F55-DA54-8165-0877-CB3D3DD429F4}"/>
          </ac:cxnSpMkLst>
        </pc:cxnChg>
        <pc:cxnChg chg="mod">
          <ac:chgData name="he zhendong/0494938/何　振東" userId="022da341-ef73-48fb-bc20-f47322bbf998" providerId="ADAL" clId="{9E891F1E-6875-4812-ACD0-C456DB8467F3}" dt="2025-09-18T16:25:09.120" v="6947" actId="1035"/>
          <ac:cxnSpMkLst>
            <pc:docMk/>
            <pc:sldMk cId="0" sldId="16772961"/>
            <ac:cxnSpMk id="44" creationId="{30EFDE1D-07E8-C61E-BC3B-5714710E8F7A}"/>
          </ac:cxnSpMkLst>
        </pc:cxnChg>
        <pc:cxnChg chg="mod">
          <ac:chgData name="he zhendong/0494938/何　振東" userId="022da341-ef73-48fb-bc20-f47322bbf998" providerId="ADAL" clId="{9E891F1E-6875-4812-ACD0-C456DB8467F3}" dt="2025-09-18T16:25:09.120" v="6947" actId="1035"/>
          <ac:cxnSpMkLst>
            <pc:docMk/>
            <pc:sldMk cId="0" sldId="16772961"/>
            <ac:cxnSpMk id="46" creationId="{B651CEE3-B5BE-6362-8B7A-A62B2B71C8D5}"/>
          </ac:cxnSpMkLst>
        </pc:cxnChg>
        <pc:cxnChg chg="mod">
          <ac:chgData name="he zhendong/0494938/何　振東" userId="022da341-ef73-48fb-bc20-f47322bbf998" providerId="ADAL" clId="{9E891F1E-6875-4812-ACD0-C456DB8467F3}" dt="2025-09-18T16:25:09.120" v="6947" actId="1035"/>
          <ac:cxnSpMkLst>
            <pc:docMk/>
            <pc:sldMk cId="0" sldId="16772961"/>
            <ac:cxnSpMk id="48" creationId="{34CDE9F9-DF4D-E328-4249-387D2BAF8AE2}"/>
          </ac:cxnSpMkLst>
        </pc:cxnChg>
        <pc:cxnChg chg="mod">
          <ac:chgData name="he zhendong/0494938/何　振東" userId="022da341-ef73-48fb-bc20-f47322bbf998" providerId="ADAL" clId="{9E891F1E-6875-4812-ACD0-C456DB8467F3}" dt="2025-09-18T16:25:09.120" v="6947" actId="1035"/>
          <ac:cxnSpMkLst>
            <pc:docMk/>
            <pc:sldMk cId="0" sldId="16772961"/>
            <ac:cxnSpMk id="50" creationId="{19F59E26-489D-FE33-1E6B-FEF5FFEE7604}"/>
          </ac:cxnSpMkLst>
        </pc:cxnChg>
        <pc:cxnChg chg="mod">
          <ac:chgData name="he zhendong/0494938/何　振東" userId="022da341-ef73-48fb-bc20-f47322bbf998" providerId="ADAL" clId="{9E891F1E-6875-4812-ACD0-C456DB8467F3}" dt="2025-09-18T16:25:09.120" v="6947" actId="1035"/>
          <ac:cxnSpMkLst>
            <pc:docMk/>
            <pc:sldMk cId="0" sldId="16772961"/>
            <ac:cxnSpMk id="66" creationId="{2202BEC9-C5D1-C6E4-FE89-52BE677DAED8}"/>
          </ac:cxnSpMkLst>
        </pc:cxnChg>
        <pc:cxnChg chg="mod">
          <ac:chgData name="he zhendong/0494938/何　振東" userId="022da341-ef73-48fb-bc20-f47322bbf998" providerId="ADAL" clId="{9E891F1E-6875-4812-ACD0-C456DB8467F3}" dt="2025-09-18T16:25:09.120" v="6947" actId="1035"/>
          <ac:cxnSpMkLst>
            <pc:docMk/>
            <pc:sldMk cId="0" sldId="16772961"/>
            <ac:cxnSpMk id="69" creationId="{034DDE8F-E097-CB07-176B-D5ED3C4A97A3}"/>
          </ac:cxnSpMkLst>
        </pc:cxnChg>
      </pc:sldChg>
      <pc:sldChg chg="delSp modSp mod">
        <pc:chgData name="he zhendong/0494938/何　振東" userId="022da341-ef73-48fb-bc20-f47322bbf998" providerId="ADAL" clId="{9E891F1E-6875-4812-ACD0-C456DB8467F3}" dt="2025-09-18T15:05:27.083" v="6660" actId="1076"/>
        <pc:sldMkLst>
          <pc:docMk/>
          <pc:sldMk cId="0" sldId="16772962"/>
        </pc:sldMkLst>
        <pc:spChg chg="del">
          <ac:chgData name="he zhendong/0494938/何　振東" userId="022da341-ef73-48fb-bc20-f47322bbf998" providerId="ADAL" clId="{9E891F1E-6875-4812-ACD0-C456DB8467F3}" dt="2025-09-18T07:28:24.023" v="2409" actId="478"/>
          <ac:spMkLst>
            <pc:docMk/>
            <pc:sldMk cId="0" sldId="16772962"/>
            <ac:spMk id="4" creationId="{00000000-0000-0000-0000-000000000000}"/>
          </ac:spMkLst>
        </pc:spChg>
        <pc:spChg chg="mod">
          <ac:chgData name="he zhendong/0494938/何　振東" userId="022da341-ef73-48fb-bc20-f47322bbf998" providerId="ADAL" clId="{9E891F1E-6875-4812-ACD0-C456DB8467F3}" dt="2025-09-18T15:05:20.483" v="6659" actId="1076"/>
          <ac:spMkLst>
            <pc:docMk/>
            <pc:sldMk cId="0" sldId="16772962"/>
            <ac:spMk id="5" creationId="{5F2B4342-4843-AA7D-BBBC-EEDC3E1CB57B}"/>
          </ac:spMkLst>
        </pc:spChg>
        <pc:graphicFrameChg chg="mod modGraphic">
          <ac:chgData name="he zhendong/0494938/何　振東" userId="022da341-ef73-48fb-bc20-f47322bbf998" providerId="ADAL" clId="{9E891F1E-6875-4812-ACD0-C456DB8467F3}" dt="2025-09-18T15:05:27.083" v="6660" actId="1076"/>
          <ac:graphicFrameMkLst>
            <pc:docMk/>
            <pc:sldMk cId="0" sldId="16772962"/>
            <ac:graphicFrameMk id="8" creationId="{EA5FED8C-15C3-BBF2-E85B-99DBE2ED9970}"/>
          </ac:graphicFrameMkLst>
        </pc:graphicFrameChg>
      </pc:sldChg>
      <pc:sldChg chg="delSp modSp mod">
        <pc:chgData name="he zhendong/0494938/何　振東" userId="022da341-ef73-48fb-bc20-f47322bbf998" providerId="ADAL" clId="{9E891F1E-6875-4812-ACD0-C456DB8467F3}" dt="2025-09-18T16:26:30.176" v="6959" actId="27636"/>
        <pc:sldMkLst>
          <pc:docMk/>
          <pc:sldMk cId="0" sldId="16772963"/>
        </pc:sldMkLst>
        <pc:spChg chg="mod">
          <ac:chgData name="he zhendong/0494938/何　振東" userId="022da341-ef73-48fb-bc20-f47322bbf998" providerId="ADAL" clId="{9E891F1E-6875-4812-ACD0-C456DB8467F3}" dt="2025-09-18T16:26:30.176" v="6959" actId="27636"/>
          <ac:spMkLst>
            <pc:docMk/>
            <pc:sldMk cId="0" sldId="16772963"/>
            <ac:spMk id="2" creationId="{00000000-0000-0000-0000-000000000000}"/>
          </ac:spMkLst>
        </pc:spChg>
        <pc:spChg chg="del">
          <ac:chgData name="he zhendong/0494938/何　振東" userId="022da341-ef73-48fb-bc20-f47322bbf998" providerId="ADAL" clId="{9E891F1E-6875-4812-ACD0-C456DB8467F3}" dt="2025-09-18T16:15:27.268" v="6834" actId="478"/>
          <ac:spMkLst>
            <pc:docMk/>
            <pc:sldMk cId="0" sldId="16772963"/>
            <ac:spMk id="3" creationId="{00000000-0000-0000-0000-000000000000}"/>
          </ac:spMkLst>
        </pc:spChg>
        <pc:spChg chg="mod">
          <ac:chgData name="he zhendong/0494938/何　振東" userId="022da341-ef73-48fb-bc20-f47322bbf998" providerId="ADAL" clId="{9E891F1E-6875-4812-ACD0-C456DB8467F3}" dt="2025-09-18T09:25:02.236" v="6524" actId="20577"/>
          <ac:spMkLst>
            <pc:docMk/>
            <pc:sldMk cId="0" sldId="16772963"/>
            <ac:spMk id="15" creationId="{00000000-0000-0000-0000-000000000000}"/>
          </ac:spMkLst>
        </pc:spChg>
      </pc:sldChg>
      <pc:sldChg chg="addSp delSp modSp mod modClrScheme chgLayout">
        <pc:chgData name="he zhendong/0494938/何　振東" userId="022da341-ef73-48fb-bc20-f47322bbf998" providerId="ADAL" clId="{9E891F1E-6875-4812-ACD0-C456DB8467F3}" dt="2025-09-18T05:57:40.154" v="2268" actId="700"/>
        <pc:sldMkLst>
          <pc:docMk/>
          <pc:sldMk cId="0" sldId="16772966"/>
        </pc:sldMkLst>
        <pc:spChg chg="add mod ord">
          <ac:chgData name="he zhendong/0494938/何　振東" userId="022da341-ef73-48fb-bc20-f47322bbf998" providerId="ADAL" clId="{9E891F1E-6875-4812-ACD0-C456DB8467F3}" dt="2025-09-18T05:57:40.154" v="2268" actId="700"/>
          <ac:spMkLst>
            <pc:docMk/>
            <pc:sldMk cId="0" sldId="16772966"/>
            <ac:spMk id="2" creationId="{EDCC7EBC-091F-22E7-1716-7E345DA138F8}"/>
          </ac:spMkLst>
        </pc:spChg>
        <pc:spChg chg="mod ord">
          <ac:chgData name="he zhendong/0494938/何　振東" userId="022da341-ef73-48fb-bc20-f47322bbf998" providerId="ADAL" clId="{9E891F1E-6875-4812-ACD0-C456DB8467F3}" dt="2025-09-18T05:57:40.154" v="2268" actId="700"/>
          <ac:spMkLst>
            <pc:docMk/>
            <pc:sldMk cId="0" sldId="16772966"/>
            <ac:spMk id="4" creationId="{00000000-0000-0000-0000-000000000000}"/>
          </ac:spMkLst>
        </pc:spChg>
        <pc:spChg chg="del mod ord">
          <ac:chgData name="he zhendong/0494938/何　振東" userId="022da341-ef73-48fb-bc20-f47322bbf998" providerId="ADAL" clId="{9E891F1E-6875-4812-ACD0-C456DB8467F3}" dt="2025-09-18T05:57:40.154" v="2268" actId="700"/>
          <ac:spMkLst>
            <pc:docMk/>
            <pc:sldMk cId="0" sldId="16772966"/>
            <ac:spMk id="5" creationId="{00000000-0000-0000-0000-000000000000}"/>
          </ac:spMkLst>
        </pc:spChg>
        <pc:spChg chg="del">
          <ac:chgData name="he zhendong/0494938/何　振東" userId="022da341-ef73-48fb-bc20-f47322bbf998" providerId="ADAL" clId="{9E891F1E-6875-4812-ACD0-C456DB8467F3}" dt="2025-09-18T05:57:40.154" v="2268" actId="700"/>
          <ac:spMkLst>
            <pc:docMk/>
            <pc:sldMk cId="0" sldId="16772966"/>
            <ac:spMk id="6" creationId="{00000000-0000-0000-0000-000000000000}"/>
          </ac:spMkLst>
        </pc:spChg>
      </pc:sldChg>
      <pc:sldChg chg="addSp delSp modSp mod">
        <pc:chgData name="he zhendong/0494938/何　振東" userId="022da341-ef73-48fb-bc20-f47322bbf998" providerId="ADAL" clId="{9E891F1E-6875-4812-ACD0-C456DB8467F3}" dt="2025-09-18T16:14:53.854" v="6831" actId="478"/>
        <pc:sldMkLst>
          <pc:docMk/>
          <pc:sldMk cId="0" sldId="16772967"/>
        </pc:sldMkLst>
        <pc:spChg chg="del">
          <ac:chgData name="he zhendong/0494938/何　振東" userId="022da341-ef73-48fb-bc20-f47322bbf998" providerId="ADAL" clId="{9E891F1E-6875-4812-ACD0-C456DB8467F3}" dt="2025-09-18T16:14:53.854" v="6831" actId="478"/>
          <ac:spMkLst>
            <pc:docMk/>
            <pc:sldMk cId="0" sldId="16772967"/>
            <ac:spMk id="3" creationId="{00000000-0000-0000-0000-000000000000}"/>
          </ac:spMkLst>
        </pc:spChg>
        <pc:spChg chg="del mod">
          <ac:chgData name="he zhendong/0494938/何　振東" userId="022da341-ef73-48fb-bc20-f47322bbf998" providerId="ADAL" clId="{9E891F1E-6875-4812-ACD0-C456DB8467F3}" dt="2025-09-18T16:12:30.828" v="6767" actId="478"/>
          <ac:spMkLst>
            <pc:docMk/>
            <pc:sldMk cId="0" sldId="16772967"/>
            <ac:spMk id="4" creationId="{FD7B7C3B-F900-354F-5A92-A3A6BE4F20E4}"/>
          </ac:spMkLst>
        </pc:spChg>
        <pc:spChg chg="mod">
          <ac:chgData name="he zhendong/0494938/何　振東" userId="022da341-ef73-48fb-bc20-f47322bbf998" providerId="ADAL" clId="{9E891F1E-6875-4812-ACD0-C456DB8467F3}" dt="2025-09-18T16:12:34.742" v="6768" actId="14100"/>
          <ac:spMkLst>
            <pc:docMk/>
            <pc:sldMk cId="0" sldId="16772967"/>
            <ac:spMk id="5" creationId="{6C29B304-7A3F-09EF-C13B-7D77794E56F3}"/>
          </ac:spMkLst>
        </pc:spChg>
        <pc:spChg chg="add del mod">
          <ac:chgData name="he zhendong/0494938/何　振東" userId="022da341-ef73-48fb-bc20-f47322bbf998" providerId="ADAL" clId="{9E891F1E-6875-4812-ACD0-C456DB8467F3}" dt="2025-09-18T08:23:17.618" v="3973" actId="478"/>
          <ac:spMkLst>
            <pc:docMk/>
            <pc:sldMk cId="0" sldId="16772967"/>
            <ac:spMk id="6" creationId="{7D1EE383-16C5-CD25-4DF2-4A95BAA26D5E}"/>
          </ac:spMkLst>
        </pc:spChg>
        <pc:spChg chg="add mod ord">
          <ac:chgData name="he zhendong/0494938/何　振東" userId="022da341-ef73-48fb-bc20-f47322bbf998" providerId="ADAL" clId="{9E891F1E-6875-4812-ACD0-C456DB8467F3}" dt="2025-09-18T16:13:09.268" v="6774" actId="167"/>
          <ac:spMkLst>
            <pc:docMk/>
            <pc:sldMk cId="0" sldId="16772967"/>
            <ac:spMk id="6" creationId="{98D86839-7B62-FBD9-DF67-D2C21F56F170}"/>
          </ac:spMkLst>
        </pc:spChg>
        <pc:spChg chg="del">
          <ac:chgData name="he zhendong/0494938/何　振東" userId="022da341-ef73-48fb-bc20-f47322bbf998" providerId="ADAL" clId="{9E891F1E-6875-4812-ACD0-C456DB8467F3}" dt="2025-09-18T08:23:23.514" v="3975" actId="478"/>
          <ac:spMkLst>
            <pc:docMk/>
            <pc:sldMk cId="0" sldId="16772967"/>
            <ac:spMk id="7" creationId="{7F1288D6-17CF-7F26-7B7C-6F1904821208}"/>
          </ac:spMkLst>
        </pc:spChg>
        <pc:spChg chg="add del mod">
          <ac:chgData name="he zhendong/0494938/何　振東" userId="022da341-ef73-48fb-bc20-f47322bbf998" providerId="ADAL" clId="{9E891F1E-6875-4812-ACD0-C456DB8467F3}" dt="2025-09-18T08:23:14.544" v="3972" actId="478"/>
          <ac:spMkLst>
            <pc:docMk/>
            <pc:sldMk cId="0" sldId="16772967"/>
            <ac:spMk id="8" creationId="{CADC1762-8DF9-2C28-4F91-82C359620445}"/>
          </ac:spMkLst>
        </pc:spChg>
        <pc:spChg chg="del">
          <ac:chgData name="he zhendong/0494938/何　振東" userId="022da341-ef73-48fb-bc20-f47322bbf998" providerId="ADAL" clId="{9E891F1E-6875-4812-ACD0-C456DB8467F3}" dt="2025-09-18T08:21:48.132" v="3894" actId="478"/>
          <ac:spMkLst>
            <pc:docMk/>
            <pc:sldMk cId="0" sldId="16772967"/>
            <ac:spMk id="9" creationId="{C57500BA-5918-F921-1451-66B2E909CFCD}"/>
          </ac:spMkLst>
        </pc:spChg>
        <pc:spChg chg="del">
          <ac:chgData name="he zhendong/0494938/何　振東" userId="022da341-ef73-48fb-bc20-f47322bbf998" providerId="ADAL" clId="{9E891F1E-6875-4812-ACD0-C456DB8467F3}" dt="2025-09-18T08:21:48.132" v="3894" actId="478"/>
          <ac:spMkLst>
            <pc:docMk/>
            <pc:sldMk cId="0" sldId="16772967"/>
            <ac:spMk id="10" creationId="{A33B08A8-E086-F95A-F07D-920E52B64272}"/>
          </ac:spMkLst>
        </pc:spChg>
        <pc:spChg chg="mod">
          <ac:chgData name="he zhendong/0494938/何　振東" userId="022da341-ef73-48fb-bc20-f47322bbf998" providerId="ADAL" clId="{9E891F1E-6875-4812-ACD0-C456DB8467F3}" dt="2025-09-18T16:08:13.158" v="6665" actId="207"/>
          <ac:spMkLst>
            <pc:docMk/>
            <pc:sldMk cId="0" sldId="16772967"/>
            <ac:spMk id="11" creationId="{35698CB4-E2D6-2A48-32D6-594CFE09BAB9}"/>
          </ac:spMkLst>
        </pc:spChg>
        <pc:spChg chg="mod">
          <ac:chgData name="he zhendong/0494938/何　振東" userId="022da341-ef73-48fb-bc20-f47322bbf998" providerId="ADAL" clId="{9E891F1E-6875-4812-ACD0-C456DB8467F3}" dt="2025-09-18T16:08:13.158" v="6665" actId="207"/>
          <ac:spMkLst>
            <pc:docMk/>
            <pc:sldMk cId="0" sldId="16772967"/>
            <ac:spMk id="14" creationId="{C619B2BD-96F3-7969-74B0-FBF772A968C3}"/>
          </ac:spMkLst>
        </pc:spChg>
        <pc:spChg chg="mod">
          <ac:chgData name="he zhendong/0494938/何　振東" userId="022da341-ef73-48fb-bc20-f47322bbf998" providerId="ADAL" clId="{9E891F1E-6875-4812-ACD0-C456DB8467F3}" dt="2025-09-18T08:59:55.305" v="5466" actId="20577"/>
          <ac:spMkLst>
            <pc:docMk/>
            <pc:sldMk cId="0" sldId="16772967"/>
            <ac:spMk id="15" creationId="{00000000-0000-0000-0000-000000000000}"/>
          </ac:spMkLst>
        </pc:spChg>
        <pc:spChg chg="mod">
          <ac:chgData name="he zhendong/0494938/何　振東" userId="022da341-ef73-48fb-bc20-f47322bbf998" providerId="ADAL" clId="{9E891F1E-6875-4812-ACD0-C456DB8467F3}" dt="2025-09-18T16:13:31.057" v="6811" actId="207"/>
          <ac:spMkLst>
            <pc:docMk/>
            <pc:sldMk cId="0" sldId="16772967"/>
            <ac:spMk id="16" creationId="{4F9C7350-8C5D-89A3-92DB-F76D9AF22889}"/>
          </ac:spMkLst>
        </pc:spChg>
        <pc:spChg chg="mod">
          <ac:chgData name="he zhendong/0494938/何　振東" userId="022da341-ef73-48fb-bc20-f47322bbf998" providerId="ADAL" clId="{9E891F1E-6875-4812-ACD0-C456DB8467F3}" dt="2025-09-18T16:08:13.158" v="6665" actId="207"/>
          <ac:spMkLst>
            <pc:docMk/>
            <pc:sldMk cId="0" sldId="16772967"/>
            <ac:spMk id="17" creationId="{3186FC23-8812-E63C-825D-E93E9D1DD8DA}"/>
          </ac:spMkLst>
        </pc:spChg>
        <pc:spChg chg="add del mod">
          <ac:chgData name="he zhendong/0494938/何　振東" userId="022da341-ef73-48fb-bc20-f47322bbf998" providerId="ADAL" clId="{9E891F1E-6875-4812-ACD0-C456DB8467F3}" dt="2025-09-18T08:21:48.132" v="3894" actId="478"/>
          <ac:spMkLst>
            <pc:docMk/>
            <pc:sldMk cId="0" sldId="16772967"/>
            <ac:spMk id="18" creationId="{10799D13-FB62-A2E6-A357-E7F637B093F6}"/>
          </ac:spMkLst>
        </pc:spChg>
        <pc:spChg chg="mod ord">
          <ac:chgData name="he zhendong/0494938/何　振東" userId="022da341-ef73-48fb-bc20-f47322bbf998" providerId="ADAL" clId="{9E891F1E-6875-4812-ACD0-C456DB8467F3}" dt="2025-09-18T16:08:13.158" v="6665" actId="207"/>
          <ac:spMkLst>
            <pc:docMk/>
            <pc:sldMk cId="0" sldId="16772967"/>
            <ac:spMk id="19" creationId="{C33C9F49-7C0B-A526-21E9-DCD4A14C952D}"/>
          </ac:spMkLst>
        </pc:spChg>
        <pc:spChg chg="add mod">
          <ac:chgData name="he zhendong/0494938/何　振東" userId="022da341-ef73-48fb-bc20-f47322bbf998" providerId="ADAL" clId="{9E891F1E-6875-4812-ACD0-C456DB8467F3}" dt="2025-09-18T08:34:57.490" v="4232" actId="1035"/>
          <ac:spMkLst>
            <pc:docMk/>
            <pc:sldMk cId="0" sldId="16772967"/>
            <ac:spMk id="20" creationId="{EF1FCE24-8F04-1445-02A7-C0675E828A81}"/>
          </ac:spMkLst>
        </pc:spChg>
        <pc:spChg chg="add del mod">
          <ac:chgData name="he zhendong/0494938/何　振東" userId="022da341-ef73-48fb-bc20-f47322bbf998" providerId="ADAL" clId="{9E891F1E-6875-4812-ACD0-C456DB8467F3}" dt="2025-09-18T08:22:25.256" v="3944" actId="478"/>
          <ac:spMkLst>
            <pc:docMk/>
            <pc:sldMk cId="0" sldId="16772967"/>
            <ac:spMk id="21" creationId="{56BEBBCA-5EAB-D7D0-5B95-146B2C956D62}"/>
          </ac:spMkLst>
        </pc:spChg>
        <pc:spChg chg="del">
          <ac:chgData name="he zhendong/0494938/何　振東" userId="022da341-ef73-48fb-bc20-f47322bbf998" providerId="ADAL" clId="{9E891F1E-6875-4812-ACD0-C456DB8467F3}" dt="2025-09-18T08:21:48.132" v="3894" actId="478"/>
          <ac:spMkLst>
            <pc:docMk/>
            <pc:sldMk cId="0" sldId="16772967"/>
            <ac:spMk id="22" creationId="{276172D1-24EF-E595-1469-30918F2F41D4}"/>
          </ac:spMkLst>
        </pc:spChg>
        <pc:spChg chg="mod">
          <ac:chgData name="he zhendong/0494938/何　振東" userId="022da341-ef73-48fb-bc20-f47322bbf998" providerId="ADAL" clId="{9E891F1E-6875-4812-ACD0-C456DB8467F3}" dt="2025-09-18T16:13:31.057" v="6811" actId="207"/>
          <ac:spMkLst>
            <pc:docMk/>
            <pc:sldMk cId="0" sldId="16772967"/>
            <ac:spMk id="26" creationId="{D87EEE08-DCA0-0224-A834-F844C15ADB88}"/>
          </ac:spMkLst>
        </pc:spChg>
        <pc:spChg chg="del">
          <ac:chgData name="he zhendong/0494938/何　振東" userId="022da341-ef73-48fb-bc20-f47322bbf998" providerId="ADAL" clId="{9E891F1E-6875-4812-ACD0-C456DB8467F3}" dt="2025-09-18T08:21:48.132" v="3894" actId="478"/>
          <ac:spMkLst>
            <pc:docMk/>
            <pc:sldMk cId="0" sldId="16772967"/>
            <ac:spMk id="32" creationId="{5D0CB7AA-7A0A-97A0-8044-7AF4E22548E4}"/>
          </ac:spMkLst>
        </pc:spChg>
        <pc:spChg chg="del">
          <ac:chgData name="he zhendong/0494938/何　振東" userId="022da341-ef73-48fb-bc20-f47322bbf998" providerId="ADAL" clId="{9E891F1E-6875-4812-ACD0-C456DB8467F3}" dt="2025-09-18T08:21:48.132" v="3894" actId="478"/>
          <ac:spMkLst>
            <pc:docMk/>
            <pc:sldMk cId="0" sldId="16772967"/>
            <ac:spMk id="33" creationId="{688D756C-B1E7-B89F-AA79-ACAF86290586}"/>
          </ac:spMkLst>
        </pc:spChg>
        <pc:spChg chg="del">
          <ac:chgData name="he zhendong/0494938/何　振東" userId="022da341-ef73-48fb-bc20-f47322bbf998" providerId="ADAL" clId="{9E891F1E-6875-4812-ACD0-C456DB8467F3}" dt="2025-09-18T08:21:48.132" v="3894" actId="478"/>
          <ac:spMkLst>
            <pc:docMk/>
            <pc:sldMk cId="0" sldId="16772967"/>
            <ac:spMk id="34" creationId="{85828890-F1FA-3FCD-4BBA-A891C470E02C}"/>
          </ac:spMkLst>
        </pc:spChg>
        <pc:spChg chg="add mod">
          <ac:chgData name="he zhendong/0494938/何　振東" userId="022da341-ef73-48fb-bc20-f47322bbf998" providerId="ADAL" clId="{9E891F1E-6875-4812-ACD0-C456DB8467F3}" dt="2025-09-18T16:08:13.158" v="6665" actId="207"/>
          <ac:spMkLst>
            <pc:docMk/>
            <pc:sldMk cId="0" sldId="16772967"/>
            <ac:spMk id="38" creationId="{20EF2802-EBB0-9D14-50D5-BD230FB16E81}"/>
          </ac:spMkLst>
        </pc:spChg>
        <pc:spChg chg="del">
          <ac:chgData name="he zhendong/0494938/何　振東" userId="022da341-ef73-48fb-bc20-f47322bbf998" providerId="ADAL" clId="{9E891F1E-6875-4812-ACD0-C456DB8467F3}" dt="2025-09-18T08:23:14.544" v="3972" actId="478"/>
          <ac:spMkLst>
            <pc:docMk/>
            <pc:sldMk cId="0" sldId="16772967"/>
            <ac:spMk id="39" creationId="{6147C24C-FE0A-5E6A-BAA3-EDF7DB122521}"/>
          </ac:spMkLst>
        </pc:spChg>
        <pc:spChg chg="add del">
          <ac:chgData name="he zhendong/0494938/何　振東" userId="022da341-ef73-48fb-bc20-f47322bbf998" providerId="ADAL" clId="{9E891F1E-6875-4812-ACD0-C456DB8467F3}" dt="2025-09-18T08:25:00.439" v="3989" actId="478"/>
          <ac:spMkLst>
            <pc:docMk/>
            <pc:sldMk cId="0" sldId="16772967"/>
            <ac:spMk id="42" creationId="{43BE6F8C-619B-0BBF-ECB8-2622EA61D253}"/>
          </ac:spMkLst>
        </pc:spChg>
        <pc:spChg chg="mod">
          <ac:chgData name="he zhendong/0494938/何　振東" userId="022da341-ef73-48fb-bc20-f47322bbf998" providerId="ADAL" clId="{9E891F1E-6875-4812-ACD0-C456DB8467F3}" dt="2025-09-18T08:34:22.605" v="4189" actId="14100"/>
          <ac:spMkLst>
            <pc:docMk/>
            <pc:sldMk cId="0" sldId="16772967"/>
            <ac:spMk id="44" creationId="{DE5AEA04-EC2F-281D-F0B5-532542F90ABB}"/>
          </ac:spMkLst>
        </pc:spChg>
        <pc:spChg chg="add mod">
          <ac:chgData name="he zhendong/0494938/何　振東" userId="022da341-ef73-48fb-bc20-f47322bbf998" providerId="ADAL" clId="{9E891F1E-6875-4812-ACD0-C456DB8467F3}" dt="2025-09-18T08:25:49.658" v="4144" actId="1038"/>
          <ac:spMkLst>
            <pc:docMk/>
            <pc:sldMk cId="0" sldId="16772967"/>
            <ac:spMk id="45" creationId="{77751E55-859F-58C0-6B2F-B1F341C9D7ED}"/>
          </ac:spMkLst>
        </pc:spChg>
        <pc:spChg chg="mod">
          <ac:chgData name="he zhendong/0494938/何　振東" userId="022da341-ef73-48fb-bc20-f47322bbf998" providerId="ADAL" clId="{9E891F1E-6875-4812-ACD0-C456DB8467F3}" dt="2025-09-18T16:08:13.158" v="6665" actId="207"/>
          <ac:spMkLst>
            <pc:docMk/>
            <pc:sldMk cId="0" sldId="16772967"/>
            <ac:spMk id="46" creationId="{018BD0A1-CEB9-21DD-5B28-2DE99F8FDC1A}"/>
          </ac:spMkLst>
        </pc:spChg>
        <pc:spChg chg="del">
          <ac:chgData name="he zhendong/0494938/何　振東" userId="022da341-ef73-48fb-bc20-f47322bbf998" providerId="ADAL" clId="{9E891F1E-6875-4812-ACD0-C456DB8467F3}" dt="2025-09-18T08:38:10.699" v="4309" actId="478"/>
          <ac:spMkLst>
            <pc:docMk/>
            <pc:sldMk cId="0" sldId="16772967"/>
            <ac:spMk id="48" creationId="{B5F59BA3-FBDA-CC77-F83D-186881568A80}"/>
          </ac:spMkLst>
        </pc:spChg>
        <pc:spChg chg="mod">
          <ac:chgData name="he zhendong/0494938/何　振東" userId="022da341-ef73-48fb-bc20-f47322bbf998" providerId="ADAL" clId="{9E891F1E-6875-4812-ACD0-C456DB8467F3}" dt="2025-09-18T08:44:26.056" v="4401" actId="1037"/>
          <ac:spMkLst>
            <pc:docMk/>
            <pc:sldMk cId="0" sldId="16772967"/>
            <ac:spMk id="49" creationId="{970617A0-69DF-6A58-69A8-8DD19417D1EC}"/>
          </ac:spMkLst>
        </pc:spChg>
        <pc:spChg chg="add mod">
          <ac:chgData name="he zhendong/0494938/何　振東" userId="022da341-ef73-48fb-bc20-f47322bbf998" providerId="ADAL" clId="{9E891F1E-6875-4812-ACD0-C456DB8467F3}" dt="2025-09-18T08:44:26.056" v="4401" actId="1037"/>
          <ac:spMkLst>
            <pc:docMk/>
            <pc:sldMk cId="0" sldId="16772967"/>
            <ac:spMk id="50" creationId="{57FB4B99-EB80-1D68-8E2D-CF0381CFC192}"/>
          </ac:spMkLst>
        </pc:spChg>
        <pc:spChg chg="mod">
          <ac:chgData name="he zhendong/0494938/何　振東" userId="022da341-ef73-48fb-bc20-f47322bbf998" providerId="ADAL" clId="{9E891F1E-6875-4812-ACD0-C456DB8467F3}" dt="2025-09-18T08:34:57.490" v="4232" actId="1035"/>
          <ac:spMkLst>
            <pc:docMk/>
            <pc:sldMk cId="0" sldId="16772967"/>
            <ac:spMk id="52" creationId="{F7A1DDF0-E55C-E11C-C97B-E4BE12900487}"/>
          </ac:spMkLst>
        </pc:spChg>
        <pc:spChg chg="add del mod">
          <ac:chgData name="he zhendong/0494938/何　振東" userId="022da341-ef73-48fb-bc20-f47322bbf998" providerId="ADAL" clId="{9E891F1E-6875-4812-ACD0-C456DB8467F3}" dt="2025-09-18T08:24:21.248" v="3984" actId="478"/>
          <ac:spMkLst>
            <pc:docMk/>
            <pc:sldMk cId="0" sldId="16772967"/>
            <ac:spMk id="59" creationId="{3A1A9F74-752F-9676-BF33-6EBE11145B30}"/>
          </ac:spMkLst>
        </pc:spChg>
        <pc:spChg chg="del">
          <ac:chgData name="he zhendong/0494938/何　振東" userId="022da341-ef73-48fb-bc20-f47322bbf998" providerId="ADAL" clId="{9E891F1E-6875-4812-ACD0-C456DB8467F3}" dt="2025-09-18T08:21:48.132" v="3894" actId="478"/>
          <ac:spMkLst>
            <pc:docMk/>
            <pc:sldMk cId="0" sldId="16772967"/>
            <ac:spMk id="60" creationId="{A44C240B-99BF-DC43-6C5B-3C46B8196061}"/>
          </ac:spMkLst>
        </pc:spChg>
        <pc:spChg chg="del">
          <ac:chgData name="he zhendong/0494938/何　振東" userId="022da341-ef73-48fb-bc20-f47322bbf998" providerId="ADAL" clId="{9E891F1E-6875-4812-ACD0-C456DB8467F3}" dt="2025-09-18T08:21:48.132" v="3894" actId="478"/>
          <ac:spMkLst>
            <pc:docMk/>
            <pc:sldMk cId="0" sldId="16772967"/>
            <ac:spMk id="61" creationId="{65FB0837-7167-8973-3D72-80F256E77649}"/>
          </ac:spMkLst>
        </pc:spChg>
        <pc:spChg chg="del">
          <ac:chgData name="he zhendong/0494938/何　振東" userId="022da341-ef73-48fb-bc20-f47322bbf998" providerId="ADAL" clId="{9E891F1E-6875-4812-ACD0-C456DB8467F3}" dt="2025-09-18T08:21:48.132" v="3894" actId="478"/>
          <ac:spMkLst>
            <pc:docMk/>
            <pc:sldMk cId="0" sldId="16772967"/>
            <ac:spMk id="62" creationId="{27E27587-69DB-49B1-7316-217118F78F95}"/>
          </ac:spMkLst>
        </pc:spChg>
        <pc:spChg chg="del">
          <ac:chgData name="he zhendong/0494938/何　振東" userId="022da341-ef73-48fb-bc20-f47322bbf998" providerId="ADAL" clId="{9E891F1E-6875-4812-ACD0-C456DB8467F3}" dt="2025-09-18T08:22:43.142" v="3955" actId="478"/>
          <ac:spMkLst>
            <pc:docMk/>
            <pc:sldMk cId="0" sldId="16772967"/>
            <ac:spMk id="63" creationId="{D60AB718-E842-73AE-D666-4B2526D927BD}"/>
          </ac:spMkLst>
        </pc:spChg>
        <pc:spChg chg="del">
          <ac:chgData name="he zhendong/0494938/何　振東" userId="022da341-ef73-48fb-bc20-f47322bbf998" providerId="ADAL" clId="{9E891F1E-6875-4812-ACD0-C456DB8467F3}" dt="2025-09-18T08:23:53.361" v="3979" actId="478"/>
          <ac:spMkLst>
            <pc:docMk/>
            <pc:sldMk cId="0" sldId="16772967"/>
            <ac:spMk id="64" creationId="{F0FECF35-6556-3A84-A85A-316920327CA1}"/>
          </ac:spMkLst>
        </pc:spChg>
        <pc:spChg chg="mod">
          <ac:chgData name="he zhendong/0494938/何　振東" userId="022da341-ef73-48fb-bc20-f47322bbf998" providerId="ADAL" clId="{9E891F1E-6875-4812-ACD0-C456DB8467F3}" dt="2025-09-18T08:44:26.056" v="4401" actId="1037"/>
          <ac:spMkLst>
            <pc:docMk/>
            <pc:sldMk cId="0" sldId="16772967"/>
            <ac:spMk id="66" creationId="{729ACF5A-6C08-9321-59AC-2A95FA462070}"/>
          </ac:spMkLst>
        </pc:spChg>
        <pc:spChg chg="mod">
          <ac:chgData name="he zhendong/0494938/何　振東" userId="022da341-ef73-48fb-bc20-f47322bbf998" providerId="ADAL" clId="{9E891F1E-6875-4812-ACD0-C456DB8467F3}" dt="2025-09-18T08:44:26.056" v="4401" actId="1037"/>
          <ac:spMkLst>
            <pc:docMk/>
            <pc:sldMk cId="0" sldId="16772967"/>
            <ac:spMk id="67" creationId="{0159BF61-3FDE-05DE-EC82-2289BBED6EF8}"/>
          </ac:spMkLst>
        </pc:spChg>
        <pc:spChg chg="del">
          <ac:chgData name="he zhendong/0494938/何　振東" userId="022da341-ef73-48fb-bc20-f47322bbf998" providerId="ADAL" clId="{9E891F1E-6875-4812-ACD0-C456DB8467F3}" dt="2025-09-18T08:23:14.544" v="3972" actId="478"/>
          <ac:spMkLst>
            <pc:docMk/>
            <pc:sldMk cId="0" sldId="16772967"/>
            <ac:spMk id="68" creationId="{1438B89A-5822-DD47-F072-1B947F8D6298}"/>
          </ac:spMkLst>
        </pc:spChg>
        <pc:spChg chg="del">
          <ac:chgData name="he zhendong/0494938/何　振東" userId="022da341-ef73-48fb-bc20-f47322bbf998" providerId="ADAL" clId="{9E891F1E-6875-4812-ACD0-C456DB8467F3}" dt="2025-09-18T08:22:38.976" v="3954" actId="478"/>
          <ac:spMkLst>
            <pc:docMk/>
            <pc:sldMk cId="0" sldId="16772967"/>
            <ac:spMk id="70" creationId="{666F27B6-AA2D-A8A4-3ADE-5CB91D86A1CD}"/>
          </ac:spMkLst>
        </pc:spChg>
        <pc:spChg chg="del">
          <ac:chgData name="he zhendong/0494938/何　振東" userId="022da341-ef73-48fb-bc20-f47322bbf998" providerId="ADAL" clId="{9E891F1E-6875-4812-ACD0-C456DB8467F3}" dt="2025-09-18T08:22:38.103" v="3953" actId="478"/>
          <ac:spMkLst>
            <pc:docMk/>
            <pc:sldMk cId="0" sldId="16772967"/>
            <ac:spMk id="71" creationId="{A2ABED4D-BB96-53F9-291D-28ECCC5A9F50}"/>
          </ac:spMkLst>
        </pc:spChg>
        <pc:spChg chg="mod">
          <ac:chgData name="he zhendong/0494938/何　振東" userId="022da341-ef73-48fb-bc20-f47322bbf998" providerId="ADAL" clId="{9E891F1E-6875-4812-ACD0-C456DB8467F3}" dt="2025-09-18T12:23:43.011" v="6551" actId="6549"/>
          <ac:spMkLst>
            <pc:docMk/>
            <pc:sldMk cId="0" sldId="16772967"/>
            <ac:spMk id="72" creationId="{45CC9BA9-20E2-E49C-E046-3B3B031AC814}"/>
          </ac:spMkLst>
        </pc:spChg>
        <pc:spChg chg="del">
          <ac:chgData name="he zhendong/0494938/何　振東" userId="022da341-ef73-48fb-bc20-f47322bbf998" providerId="ADAL" clId="{9E891F1E-6875-4812-ACD0-C456DB8467F3}" dt="2025-09-18T08:25:15.515" v="4017" actId="478"/>
          <ac:spMkLst>
            <pc:docMk/>
            <pc:sldMk cId="0" sldId="16772967"/>
            <ac:spMk id="73" creationId="{89FA8172-F1DC-B153-DB7A-8D0EFA0148C7}"/>
          </ac:spMkLst>
        </pc:spChg>
        <pc:spChg chg="mod">
          <ac:chgData name="he zhendong/0494938/何　振東" userId="022da341-ef73-48fb-bc20-f47322bbf998" providerId="ADAL" clId="{9E891F1E-6875-4812-ACD0-C456DB8467F3}" dt="2025-09-18T08:36:15.940" v="4244" actId="1076"/>
          <ac:spMkLst>
            <pc:docMk/>
            <pc:sldMk cId="0" sldId="16772967"/>
            <ac:spMk id="74" creationId="{E4BF100E-DCF3-6932-F379-D576C6718375}"/>
          </ac:spMkLst>
        </pc:spChg>
        <pc:spChg chg="add del mod">
          <ac:chgData name="he zhendong/0494938/何　振東" userId="022da341-ef73-48fb-bc20-f47322bbf998" providerId="ADAL" clId="{9E891F1E-6875-4812-ACD0-C456DB8467F3}" dt="2025-09-18T08:25:07.068" v="3991" actId="478"/>
          <ac:spMkLst>
            <pc:docMk/>
            <pc:sldMk cId="0" sldId="16772967"/>
            <ac:spMk id="75" creationId="{CBFEE290-0A5D-2782-B54E-C518BA56E096}"/>
          </ac:spMkLst>
        </pc:spChg>
        <pc:spChg chg="del">
          <ac:chgData name="he zhendong/0494938/何　振東" userId="022da341-ef73-48fb-bc20-f47322bbf998" providerId="ADAL" clId="{9E891F1E-6875-4812-ACD0-C456DB8467F3}" dt="2025-09-18T08:37:17.609" v="4254" actId="478"/>
          <ac:spMkLst>
            <pc:docMk/>
            <pc:sldMk cId="0" sldId="16772967"/>
            <ac:spMk id="77" creationId="{7C197B49-4B98-596B-F65A-B5A094F4A8B0}"/>
          </ac:spMkLst>
        </pc:spChg>
        <pc:spChg chg="mod">
          <ac:chgData name="he zhendong/0494938/何　振東" userId="022da341-ef73-48fb-bc20-f47322bbf998" providerId="ADAL" clId="{9E891F1E-6875-4812-ACD0-C456DB8467F3}" dt="2025-09-18T08:44:26.056" v="4401" actId="1037"/>
          <ac:spMkLst>
            <pc:docMk/>
            <pc:sldMk cId="0" sldId="16772967"/>
            <ac:spMk id="78" creationId="{67838BC0-8257-718E-D0B6-C3B63BA60C8F}"/>
          </ac:spMkLst>
        </pc:spChg>
        <pc:spChg chg="mod">
          <ac:chgData name="he zhendong/0494938/何　振東" userId="022da341-ef73-48fb-bc20-f47322bbf998" providerId="ADAL" clId="{9E891F1E-6875-4812-ACD0-C456DB8467F3}" dt="2025-09-18T16:13:45.506" v="6815" actId="5793"/>
          <ac:spMkLst>
            <pc:docMk/>
            <pc:sldMk cId="0" sldId="16772967"/>
            <ac:spMk id="79" creationId="{117F2DB8-735C-AB14-0186-227D6C4F9863}"/>
          </ac:spMkLst>
        </pc:spChg>
        <pc:spChg chg="del">
          <ac:chgData name="he zhendong/0494938/何　振東" userId="022da341-ef73-48fb-bc20-f47322bbf998" providerId="ADAL" clId="{9E891F1E-6875-4812-ACD0-C456DB8467F3}" dt="2025-09-18T08:20:39.336" v="3871" actId="478"/>
          <ac:spMkLst>
            <pc:docMk/>
            <pc:sldMk cId="0" sldId="16772967"/>
            <ac:spMk id="80" creationId="{5E66E3B7-25AD-C2F1-C05A-EA892A802886}"/>
          </ac:spMkLst>
        </pc:spChg>
        <pc:spChg chg="del">
          <ac:chgData name="he zhendong/0494938/何　振東" userId="022da341-ef73-48fb-bc20-f47322bbf998" providerId="ADAL" clId="{9E891F1E-6875-4812-ACD0-C456DB8467F3}" dt="2025-09-18T08:23:14.544" v="3972" actId="478"/>
          <ac:spMkLst>
            <pc:docMk/>
            <pc:sldMk cId="0" sldId="16772967"/>
            <ac:spMk id="81" creationId="{A89A3CC2-3AFB-E2FF-BD57-D827D60EBE46}"/>
          </ac:spMkLst>
        </pc:spChg>
        <pc:spChg chg="del">
          <ac:chgData name="he zhendong/0494938/何　振東" userId="022da341-ef73-48fb-bc20-f47322bbf998" providerId="ADAL" clId="{9E891F1E-6875-4812-ACD0-C456DB8467F3}" dt="2025-09-18T08:23:14.544" v="3972" actId="478"/>
          <ac:spMkLst>
            <pc:docMk/>
            <pc:sldMk cId="0" sldId="16772967"/>
            <ac:spMk id="82" creationId="{A219B74B-B483-D6D7-8472-63CC6DC3ACDF}"/>
          </ac:spMkLst>
        </pc:spChg>
        <pc:spChg chg="del">
          <ac:chgData name="he zhendong/0494938/何　振東" userId="022da341-ef73-48fb-bc20-f47322bbf998" providerId="ADAL" clId="{9E891F1E-6875-4812-ACD0-C456DB8467F3}" dt="2025-09-18T08:23:14.544" v="3972" actId="478"/>
          <ac:spMkLst>
            <pc:docMk/>
            <pc:sldMk cId="0" sldId="16772967"/>
            <ac:spMk id="83" creationId="{767ED971-203C-B543-9C42-FD8EBFB5AC7E}"/>
          </ac:spMkLst>
        </pc:spChg>
        <pc:spChg chg="del">
          <ac:chgData name="he zhendong/0494938/何　振東" userId="022da341-ef73-48fb-bc20-f47322bbf998" providerId="ADAL" clId="{9E891F1E-6875-4812-ACD0-C456DB8467F3}" dt="2025-09-18T08:23:14.544" v="3972" actId="478"/>
          <ac:spMkLst>
            <pc:docMk/>
            <pc:sldMk cId="0" sldId="16772967"/>
            <ac:spMk id="84" creationId="{73DCB070-4611-2A78-47B1-539FA5CD396A}"/>
          </ac:spMkLst>
        </pc:spChg>
        <pc:spChg chg="del">
          <ac:chgData name="he zhendong/0494938/何　振東" userId="022da341-ef73-48fb-bc20-f47322bbf998" providerId="ADAL" clId="{9E891F1E-6875-4812-ACD0-C456DB8467F3}" dt="2025-09-18T08:23:14.544" v="3972" actId="478"/>
          <ac:spMkLst>
            <pc:docMk/>
            <pc:sldMk cId="0" sldId="16772967"/>
            <ac:spMk id="85" creationId="{1AD6DDBC-C236-9701-40D8-717387236CDF}"/>
          </ac:spMkLst>
        </pc:spChg>
        <pc:spChg chg="del">
          <ac:chgData name="he zhendong/0494938/何　振東" userId="022da341-ef73-48fb-bc20-f47322bbf998" providerId="ADAL" clId="{9E891F1E-6875-4812-ACD0-C456DB8467F3}" dt="2025-09-18T08:23:21.974" v="3974" actId="478"/>
          <ac:spMkLst>
            <pc:docMk/>
            <pc:sldMk cId="0" sldId="16772967"/>
            <ac:spMk id="87" creationId="{9573A456-D610-DB7E-9417-5F0E85DDB9EF}"/>
          </ac:spMkLst>
        </pc:spChg>
        <pc:spChg chg="del">
          <ac:chgData name="he zhendong/0494938/何　振東" userId="022da341-ef73-48fb-bc20-f47322bbf998" providerId="ADAL" clId="{9E891F1E-6875-4812-ACD0-C456DB8467F3}" dt="2025-09-18T08:21:12.125" v="3889" actId="478"/>
          <ac:spMkLst>
            <pc:docMk/>
            <pc:sldMk cId="0" sldId="16772967"/>
            <ac:spMk id="88" creationId="{C6EE7EC3-F4AB-0D4C-95F9-26DFA5835843}"/>
          </ac:spMkLst>
        </pc:spChg>
        <pc:spChg chg="add mod">
          <ac:chgData name="he zhendong/0494938/何　振東" userId="022da341-ef73-48fb-bc20-f47322bbf998" providerId="ADAL" clId="{9E891F1E-6875-4812-ACD0-C456DB8467F3}" dt="2025-09-18T16:08:13.158" v="6665" actId="207"/>
          <ac:spMkLst>
            <pc:docMk/>
            <pc:sldMk cId="0" sldId="16772967"/>
            <ac:spMk id="96" creationId="{601F555D-9479-AED5-4FAC-5A364D2637CD}"/>
          </ac:spMkLst>
        </pc:spChg>
        <pc:cxnChg chg="mod">
          <ac:chgData name="he zhendong/0494938/何　振東" userId="022da341-ef73-48fb-bc20-f47322bbf998" providerId="ADAL" clId="{9E891F1E-6875-4812-ACD0-C456DB8467F3}" dt="2025-09-18T08:40:37.720" v="4362" actId="1038"/>
          <ac:cxnSpMkLst>
            <pc:docMk/>
            <pc:sldMk cId="0" sldId="16772967"/>
            <ac:cxnSpMk id="12" creationId="{9E45B141-258E-B087-8B9B-B2E1A62F2966}"/>
          </ac:cxnSpMkLst>
        </pc:cxnChg>
        <pc:cxnChg chg="mod">
          <ac:chgData name="he zhendong/0494938/何　振東" userId="022da341-ef73-48fb-bc20-f47322bbf998" providerId="ADAL" clId="{9E891F1E-6875-4812-ACD0-C456DB8467F3}" dt="2025-09-18T08:35:21.383" v="4235" actId="12789"/>
          <ac:cxnSpMkLst>
            <pc:docMk/>
            <pc:sldMk cId="0" sldId="16772967"/>
            <ac:cxnSpMk id="13" creationId="{11B4CD0B-EC79-5C9F-3A86-9E0B06AD825C}"/>
          </ac:cxnSpMkLst>
        </pc:cxnChg>
        <pc:cxnChg chg="mod">
          <ac:chgData name="he zhendong/0494938/何　振東" userId="022da341-ef73-48fb-bc20-f47322bbf998" providerId="ADAL" clId="{9E891F1E-6875-4812-ACD0-C456DB8467F3}" dt="2025-09-18T08:35:11.162" v="4234" actId="14100"/>
          <ac:cxnSpMkLst>
            <pc:docMk/>
            <pc:sldMk cId="0" sldId="16772967"/>
            <ac:cxnSpMk id="24" creationId="{1B9626BA-8FCE-E813-819B-1FAC803F9087}"/>
          </ac:cxnSpMkLst>
        </pc:cxnChg>
        <pc:cxnChg chg="del mod">
          <ac:chgData name="he zhendong/0494938/何　振東" userId="022da341-ef73-48fb-bc20-f47322bbf998" providerId="ADAL" clId="{9E891F1E-6875-4812-ACD0-C456DB8467F3}" dt="2025-09-18T08:21:51.433" v="3897" actId="478"/>
          <ac:cxnSpMkLst>
            <pc:docMk/>
            <pc:sldMk cId="0" sldId="16772967"/>
            <ac:cxnSpMk id="25" creationId="{872DA4F5-1A57-3976-2E35-075CD3BBC430}"/>
          </ac:cxnSpMkLst>
        </pc:cxnChg>
        <pc:cxnChg chg="mod">
          <ac:chgData name="he zhendong/0494938/何　振東" userId="022da341-ef73-48fb-bc20-f47322bbf998" providerId="ADAL" clId="{9E891F1E-6875-4812-ACD0-C456DB8467F3}" dt="2025-09-18T08:40:37.720" v="4362" actId="1038"/>
          <ac:cxnSpMkLst>
            <pc:docMk/>
            <pc:sldMk cId="0" sldId="16772967"/>
            <ac:cxnSpMk id="27" creationId="{FF5D66F0-ED55-C441-D779-A68168BA0F73}"/>
          </ac:cxnSpMkLst>
        </pc:cxnChg>
        <pc:cxnChg chg="del mod">
          <ac:chgData name="he zhendong/0494938/何　振東" userId="022da341-ef73-48fb-bc20-f47322bbf998" providerId="ADAL" clId="{9E891F1E-6875-4812-ACD0-C456DB8467F3}" dt="2025-09-18T08:21:50.802" v="3896" actId="478"/>
          <ac:cxnSpMkLst>
            <pc:docMk/>
            <pc:sldMk cId="0" sldId="16772967"/>
            <ac:cxnSpMk id="28" creationId="{488A4BEC-D8E8-1166-A459-33243FA2BEDE}"/>
          </ac:cxnSpMkLst>
        </pc:cxnChg>
        <pc:cxnChg chg="del mod">
          <ac:chgData name="he zhendong/0494938/何　振東" userId="022da341-ef73-48fb-bc20-f47322bbf998" providerId="ADAL" clId="{9E891F1E-6875-4812-ACD0-C456DB8467F3}" dt="2025-09-18T08:21:49.755" v="3895" actId="478"/>
          <ac:cxnSpMkLst>
            <pc:docMk/>
            <pc:sldMk cId="0" sldId="16772967"/>
            <ac:cxnSpMk id="29" creationId="{07AA6A18-C79C-6D8D-8C99-3BAF00E140AC}"/>
          </ac:cxnSpMkLst>
        </pc:cxnChg>
        <pc:cxnChg chg="mod">
          <ac:chgData name="he zhendong/0494938/何　振東" userId="022da341-ef73-48fb-bc20-f47322bbf998" providerId="ADAL" clId="{9E891F1E-6875-4812-ACD0-C456DB8467F3}" dt="2025-09-18T08:34:57.490" v="4232" actId="1035"/>
          <ac:cxnSpMkLst>
            <pc:docMk/>
            <pc:sldMk cId="0" sldId="16772967"/>
            <ac:cxnSpMk id="30" creationId="{4DEFCB05-6372-E348-929B-20757232D221}"/>
          </ac:cxnSpMkLst>
        </pc:cxnChg>
        <pc:cxnChg chg="del mod">
          <ac:chgData name="he zhendong/0494938/何　振東" userId="022da341-ef73-48fb-bc20-f47322bbf998" providerId="ADAL" clId="{9E891F1E-6875-4812-ACD0-C456DB8467F3}" dt="2025-09-18T08:24:04.314" v="3982" actId="478"/>
          <ac:cxnSpMkLst>
            <pc:docMk/>
            <pc:sldMk cId="0" sldId="16772967"/>
            <ac:cxnSpMk id="31" creationId="{A5257BC9-B5E2-4070-6A8F-358042B7178D}"/>
          </ac:cxnSpMkLst>
        </pc:cxnChg>
        <pc:cxnChg chg="del mod">
          <ac:chgData name="he zhendong/0494938/何　振東" userId="022da341-ef73-48fb-bc20-f47322bbf998" providerId="ADAL" clId="{9E891F1E-6875-4812-ACD0-C456DB8467F3}" dt="2025-09-18T08:23:51.737" v="3978" actId="478"/>
          <ac:cxnSpMkLst>
            <pc:docMk/>
            <pc:sldMk cId="0" sldId="16772967"/>
            <ac:cxnSpMk id="40" creationId="{2F74BD6D-A8A8-BD63-A9BD-8AD8A512361C}"/>
          </ac:cxnSpMkLst>
        </pc:cxnChg>
        <pc:cxnChg chg="del mod">
          <ac:chgData name="he zhendong/0494938/何　振東" userId="022da341-ef73-48fb-bc20-f47322bbf998" providerId="ADAL" clId="{9E891F1E-6875-4812-ACD0-C456DB8467F3}" dt="2025-09-18T08:19:59.916" v="3812" actId="478"/>
          <ac:cxnSpMkLst>
            <pc:docMk/>
            <pc:sldMk cId="0" sldId="16772967"/>
            <ac:cxnSpMk id="41" creationId="{C4B30541-8B19-5BB0-7485-36DFA3F3A835}"/>
          </ac:cxnSpMkLst>
        </pc:cxnChg>
        <pc:cxnChg chg="add del mod">
          <ac:chgData name="he zhendong/0494938/何　振東" userId="022da341-ef73-48fb-bc20-f47322bbf998" providerId="ADAL" clId="{9E891F1E-6875-4812-ACD0-C456DB8467F3}" dt="2025-09-18T08:25:03.845" v="3990" actId="478"/>
          <ac:cxnSpMkLst>
            <pc:docMk/>
            <pc:sldMk cId="0" sldId="16772967"/>
            <ac:cxnSpMk id="43" creationId="{EB86B02C-112A-D77C-78BD-1E9AAB62DAB8}"/>
          </ac:cxnSpMkLst>
        </pc:cxnChg>
        <pc:cxnChg chg="mod">
          <ac:chgData name="he zhendong/0494938/何　振東" userId="022da341-ef73-48fb-bc20-f47322bbf998" providerId="ADAL" clId="{9E891F1E-6875-4812-ACD0-C456DB8467F3}" dt="2025-09-18T08:35:21.383" v="4235" actId="12789"/>
          <ac:cxnSpMkLst>
            <pc:docMk/>
            <pc:sldMk cId="0" sldId="16772967"/>
            <ac:cxnSpMk id="47" creationId="{CFB1942F-9A15-314C-5CD5-964EAFF8DA24}"/>
          </ac:cxnSpMkLst>
        </pc:cxnChg>
        <pc:cxnChg chg="mod">
          <ac:chgData name="he zhendong/0494938/何　振東" userId="022da341-ef73-48fb-bc20-f47322bbf998" providerId="ADAL" clId="{9E891F1E-6875-4812-ACD0-C456DB8467F3}" dt="2025-09-18T08:35:21.383" v="4235" actId="12789"/>
          <ac:cxnSpMkLst>
            <pc:docMk/>
            <pc:sldMk cId="0" sldId="16772967"/>
            <ac:cxnSpMk id="51" creationId="{368FA122-369C-C9E5-E801-F33B823A2D47}"/>
          </ac:cxnSpMkLst>
        </pc:cxnChg>
        <pc:cxnChg chg="mod">
          <ac:chgData name="he zhendong/0494938/何　振東" userId="022da341-ef73-48fb-bc20-f47322bbf998" providerId="ADAL" clId="{9E891F1E-6875-4812-ACD0-C456DB8467F3}" dt="2025-09-18T08:25:49.658" v="4144" actId="1038"/>
          <ac:cxnSpMkLst>
            <pc:docMk/>
            <pc:sldMk cId="0" sldId="16772967"/>
            <ac:cxnSpMk id="53" creationId="{285763A7-1F61-684C-B8ED-4013DD0D3BB4}"/>
          </ac:cxnSpMkLst>
        </pc:cxnChg>
        <pc:cxnChg chg="del mod">
          <ac:chgData name="he zhendong/0494938/何　振東" userId="022da341-ef73-48fb-bc20-f47322bbf998" providerId="ADAL" clId="{9E891F1E-6875-4812-ACD0-C456DB8467F3}" dt="2025-09-18T08:25:55.344" v="4145" actId="478"/>
          <ac:cxnSpMkLst>
            <pc:docMk/>
            <pc:sldMk cId="0" sldId="16772967"/>
            <ac:cxnSpMk id="54" creationId="{850D592F-CAB3-BF4B-F87C-F9B40252BE35}"/>
          </ac:cxnSpMkLst>
        </pc:cxnChg>
        <pc:cxnChg chg="mod">
          <ac:chgData name="he zhendong/0494938/何　振東" userId="022da341-ef73-48fb-bc20-f47322bbf998" providerId="ADAL" clId="{9E891F1E-6875-4812-ACD0-C456DB8467F3}" dt="2025-09-18T08:25:10.592" v="4016" actId="1035"/>
          <ac:cxnSpMkLst>
            <pc:docMk/>
            <pc:sldMk cId="0" sldId="16772967"/>
            <ac:cxnSpMk id="55" creationId="{485E4F7D-96B6-4A9A-15A4-BAB4817221B8}"/>
          </ac:cxnSpMkLst>
        </pc:cxnChg>
        <pc:cxnChg chg="mod">
          <ac:chgData name="he zhendong/0494938/何　振東" userId="022da341-ef73-48fb-bc20-f47322bbf998" providerId="ADAL" clId="{9E891F1E-6875-4812-ACD0-C456DB8467F3}" dt="2025-09-18T08:35:21.383" v="4235" actId="12789"/>
          <ac:cxnSpMkLst>
            <pc:docMk/>
            <pc:sldMk cId="0" sldId="16772967"/>
            <ac:cxnSpMk id="56" creationId="{3F861241-9381-374C-CC34-E526F15D5EEC}"/>
          </ac:cxnSpMkLst>
        </pc:cxnChg>
        <pc:cxnChg chg="del mod">
          <ac:chgData name="he zhendong/0494938/何　振東" userId="022da341-ef73-48fb-bc20-f47322bbf998" providerId="ADAL" clId="{9E891F1E-6875-4812-ACD0-C456DB8467F3}" dt="2025-09-18T08:23:21.974" v="3974" actId="478"/>
          <ac:cxnSpMkLst>
            <pc:docMk/>
            <pc:sldMk cId="0" sldId="16772967"/>
            <ac:cxnSpMk id="57" creationId="{559B2202-DA05-C46C-924A-3E78F963E80E}"/>
          </ac:cxnSpMkLst>
        </pc:cxnChg>
        <pc:cxnChg chg="mod">
          <ac:chgData name="he zhendong/0494938/何　振東" userId="022da341-ef73-48fb-bc20-f47322bbf998" providerId="ADAL" clId="{9E891F1E-6875-4812-ACD0-C456DB8467F3}" dt="2025-09-18T08:39:31.046" v="4333" actId="14100"/>
          <ac:cxnSpMkLst>
            <pc:docMk/>
            <pc:sldMk cId="0" sldId="16772967"/>
            <ac:cxnSpMk id="58" creationId="{D0C51975-B43C-A1EF-CFDD-420654B1A2E7}"/>
          </ac:cxnSpMkLst>
        </pc:cxnChg>
        <pc:cxnChg chg="mod">
          <ac:chgData name="he zhendong/0494938/何　振東" userId="022da341-ef73-48fb-bc20-f47322bbf998" providerId="ADAL" clId="{9E891F1E-6875-4812-ACD0-C456DB8467F3}" dt="2025-09-18T08:35:32.721" v="4237" actId="14100"/>
          <ac:cxnSpMkLst>
            <pc:docMk/>
            <pc:sldMk cId="0" sldId="16772967"/>
            <ac:cxnSpMk id="65" creationId="{D5CE732D-32E5-5B0D-A7E7-BEE2405C60C8}"/>
          </ac:cxnSpMkLst>
        </pc:cxnChg>
        <pc:cxnChg chg="del mod">
          <ac:chgData name="he zhendong/0494938/何　振東" userId="022da341-ef73-48fb-bc20-f47322bbf998" providerId="ADAL" clId="{9E891F1E-6875-4812-ACD0-C456DB8467F3}" dt="2025-09-18T08:20:39.336" v="3871" actId="478"/>
          <ac:cxnSpMkLst>
            <pc:docMk/>
            <pc:sldMk cId="0" sldId="16772967"/>
            <ac:cxnSpMk id="69" creationId="{9AEA17E0-6906-3272-B29A-30476916F78B}"/>
          </ac:cxnSpMkLst>
        </pc:cxnChg>
        <pc:cxnChg chg="add del mod">
          <ac:chgData name="he zhendong/0494938/何　振東" userId="022da341-ef73-48fb-bc20-f47322bbf998" providerId="ADAL" clId="{9E891F1E-6875-4812-ACD0-C456DB8467F3}" dt="2025-09-18T08:36:26.514" v="4247" actId="14100"/>
          <ac:cxnSpMkLst>
            <pc:docMk/>
            <pc:sldMk cId="0" sldId="16772967"/>
            <ac:cxnSpMk id="76" creationId="{C861C588-DA30-1FE8-CCC2-9EE5332D0F22}"/>
          </ac:cxnSpMkLst>
        </pc:cxnChg>
        <pc:cxnChg chg="del mod">
          <ac:chgData name="he zhendong/0494938/何　振東" userId="022da341-ef73-48fb-bc20-f47322bbf998" providerId="ADAL" clId="{9E891F1E-6875-4812-ACD0-C456DB8467F3}" dt="2025-09-18T08:38:09.056" v="4308" actId="478"/>
          <ac:cxnSpMkLst>
            <pc:docMk/>
            <pc:sldMk cId="0" sldId="16772967"/>
            <ac:cxnSpMk id="86" creationId="{14EED942-D808-516D-557B-E45E688E7C82}"/>
          </ac:cxnSpMkLst>
        </pc:cxnChg>
        <pc:cxnChg chg="mod">
          <ac:chgData name="he zhendong/0494938/何　振東" userId="022da341-ef73-48fb-bc20-f47322bbf998" providerId="ADAL" clId="{9E891F1E-6875-4812-ACD0-C456DB8467F3}" dt="2025-09-18T08:40:45.821" v="4363" actId="14100"/>
          <ac:cxnSpMkLst>
            <pc:docMk/>
            <pc:sldMk cId="0" sldId="16772967"/>
            <ac:cxnSpMk id="89" creationId="{93561D37-214F-DEC0-23A2-48D9B0114278}"/>
          </ac:cxnSpMkLst>
        </pc:cxnChg>
        <pc:cxnChg chg="mod">
          <ac:chgData name="he zhendong/0494938/何　振東" userId="022da341-ef73-48fb-bc20-f47322bbf998" providerId="ADAL" clId="{9E891F1E-6875-4812-ACD0-C456DB8467F3}" dt="2025-09-18T08:40:45.821" v="4363" actId="14100"/>
          <ac:cxnSpMkLst>
            <pc:docMk/>
            <pc:sldMk cId="0" sldId="16772967"/>
            <ac:cxnSpMk id="90" creationId="{98DDB7CD-16A1-C017-C049-A18F2B9BB2F0}"/>
          </ac:cxnSpMkLst>
        </pc:cxnChg>
        <pc:cxnChg chg="add mod">
          <ac:chgData name="he zhendong/0494938/何　振東" userId="022da341-ef73-48fb-bc20-f47322bbf998" providerId="ADAL" clId="{9E891F1E-6875-4812-ACD0-C456DB8467F3}" dt="2025-09-18T08:37:02.969" v="4251" actId="14100"/>
          <ac:cxnSpMkLst>
            <pc:docMk/>
            <pc:sldMk cId="0" sldId="16772967"/>
            <ac:cxnSpMk id="125" creationId="{B9F154C0-D8FD-96EE-6CA3-38DFD74F4A53}"/>
          </ac:cxnSpMkLst>
        </pc:cxnChg>
        <pc:cxnChg chg="add mod">
          <ac:chgData name="he zhendong/0494938/何　振東" userId="022da341-ef73-48fb-bc20-f47322bbf998" providerId="ADAL" clId="{9E891F1E-6875-4812-ACD0-C456DB8467F3}" dt="2025-09-18T08:39:27.639" v="4332" actId="14100"/>
          <ac:cxnSpMkLst>
            <pc:docMk/>
            <pc:sldMk cId="0" sldId="16772967"/>
            <ac:cxnSpMk id="129" creationId="{878B4B2B-E57A-E011-D899-D3E9A43D1DCA}"/>
          </ac:cxnSpMkLst>
        </pc:cxnChg>
        <pc:cxnChg chg="add mod">
          <ac:chgData name="he zhendong/0494938/何　振東" userId="022da341-ef73-48fb-bc20-f47322bbf998" providerId="ADAL" clId="{9E891F1E-6875-4812-ACD0-C456DB8467F3}" dt="2025-09-18T08:41:33.890" v="4373" actId="14100"/>
          <ac:cxnSpMkLst>
            <pc:docMk/>
            <pc:sldMk cId="0" sldId="16772967"/>
            <ac:cxnSpMk id="141" creationId="{965E2D9E-AD9F-B7FA-B172-327035324BDF}"/>
          </ac:cxnSpMkLst>
        </pc:cxnChg>
        <pc:cxnChg chg="add mod">
          <ac:chgData name="he zhendong/0494938/何　振東" userId="022da341-ef73-48fb-bc20-f47322bbf998" providerId="ADAL" clId="{9E891F1E-6875-4812-ACD0-C456DB8467F3}" dt="2025-09-18T08:41:47.307" v="4378" actId="14100"/>
          <ac:cxnSpMkLst>
            <pc:docMk/>
            <pc:sldMk cId="0" sldId="16772967"/>
            <ac:cxnSpMk id="145" creationId="{CA808C40-634C-E3C4-7471-1D593035914D}"/>
          </ac:cxnSpMkLst>
        </pc:cxnChg>
      </pc:sldChg>
      <pc:sldChg chg="modSp mod">
        <pc:chgData name="he zhendong/0494938/何　振東" userId="022da341-ef73-48fb-bc20-f47322bbf998" providerId="ADAL" clId="{9E891F1E-6875-4812-ACD0-C456DB8467F3}" dt="2025-09-18T12:24:58.132" v="6555" actId="20577"/>
        <pc:sldMkLst>
          <pc:docMk/>
          <pc:sldMk cId="0" sldId="16772968"/>
        </pc:sldMkLst>
        <pc:graphicFrameChg chg="modGraphic">
          <ac:chgData name="he zhendong/0494938/何　振東" userId="022da341-ef73-48fb-bc20-f47322bbf998" providerId="ADAL" clId="{9E891F1E-6875-4812-ACD0-C456DB8467F3}" dt="2025-09-18T12:24:58.132" v="6555" actId="20577"/>
          <ac:graphicFrameMkLst>
            <pc:docMk/>
            <pc:sldMk cId="0" sldId="16772968"/>
            <ac:graphicFrameMk id="13" creationId="{CCEE3F59-435C-2042-9CB5-81A93BE17519}"/>
          </ac:graphicFrameMkLst>
        </pc:graphicFrameChg>
      </pc:sldChg>
      <pc:sldChg chg="del">
        <pc:chgData name="he zhendong/0494938/何　振東" userId="022da341-ef73-48fb-bc20-f47322bbf998" providerId="ADAL" clId="{9E891F1E-6875-4812-ACD0-C456DB8467F3}" dt="2025-09-18T12:46:18.637" v="6587" actId="47"/>
        <pc:sldMkLst>
          <pc:docMk/>
          <pc:sldMk cId="3996305701" sldId="16772969"/>
        </pc:sldMkLst>
      </pc:sldChg>
      <pc:sldChg chg="addSp delSp modSp mod">
        <pc:chgData name="he zhendong/0494938/何　振東" userId="022da341-ef73-48fb-bc20-f47322bbf998" providerId="ADAL" clId="{9E891F1E-6875-4812-ACD0-C456DB8467F3}" dt="2025-09-18T16:26:19.602" v="6957" actId="108"/>
        <pc:sldMkLst>
          <pc:docMk/>
          <pc:sldMk cId="1024482199" sldId="16772970"/>
        </pc:sldMkLst>
        <pc:spChg chg="del">
          <ac:chgData name="he zhendong/0494938/何　振東" userId="022da341-ef73-48fb-bc20-f47322bbf998" providerId="ADAL" clId="{9E891F1E-6875-4812-ACD0-C456DB8467F3}" dt="2025-09-18T09:16:45.432" v="5771" actId="478"/>
          <ac:spMkLst>
            <pc:docMk/>
            <pc:sldMk cId="1024482199" sldId="16772970"/>
            <ac:spMk id="3" creationId="{00000000-0000-0000-0000-000000000000}"/>
          </ac:spMkLst>
        </pc:spChg>
        <pc:spChg chg="add del mod">
          <ac:chgData name="he zhendong/0494938/何　振東" userId="022da341-ef73-48fb-bc20-f47322bbf998" providerId="ADAL" clId="{9E891F1E-6875-4812-ACD0-C456DB8467F3}" dt="2025-09-18T09:18:58.295" v="5933" actId="478"/>
          <ac:spMkLst>
            <pc:docMk/>
            <pc:sldMk cId="1024482199" sldId="16772970"/>
            <ac:spMk id="15" creationId="{00000000-0000-0000-0000-000000000000}"/>
          </ac:spMkLst>
        </pc:spChg>
        <pc:graphicFrameChg chg="add del mod modGraphic">
          <ac:chgData name="he zhendong/0494938/何　振東" userId="022da341-ef73-48fb-bc20-f47322bbf998" providerId="ADAL" clId="{9E891F1E-6875-4812-ACD0-C456DB8467F3}" dt="2025-09-18T16:26:19.602" v="6957" actId="108"/>
          <ac:graphicFrameMkLst>
            <pc:docMk/>
            <pc:sldMk cId="1024482199" sldId="16772970"/>
            <ac:graphicFrameMk id="4" creationId="{7A494E27-83EC-A0A3-2082-E9A9D75C64D6}"/>
          </ac:graphicFrameMkLst>
        </pc:graphicFrameChg>
      </pc:sldChg>
      <pc:sldChg chg="modSp mod">
        <pc:chgData name="he zhendong/0494938/何　振東" userId="022da341-ef73-48fb-bc20-f47322bbf998" providerId="ADAL" clId="{9E891F1E-6875-4812-ACD0-C456DB8467F3}" dt="2025-09-18T16:27:35.434" v="6963" actId="255"/>
        <pc:sldMkLst>
          <pc:docMk/>
          <pc:sldMk cId="0" sldId="16772971"/>
        </pc:sldMkLst>
        <pc:spChg chg="mod">
          <ac:chgData name="he zhendong/0494938/何　振東" userId="022da341-ef73-48fb-bc20-f47322bbf998" providerId="ADAL" clId="{9E891F1E-6875-4812-ACD0-C456DB8467F3}" dt="2025-09-18T16:27:35.434" v="6963" actId="255"/>
          <ac:spMkLst>
            <pc:docMk/>
            <pc:sldMk cId="0" sldId="16772971"/>
            <ac:spMk id="2" creationId="{00000000-0000-0000-0000-000000000000}"/>
          </ac:spMkLst>
        </pc:spChg>
        <pc:spChg chg="mod">
          <ac:chgData name="he zhendong/0494938/何　振東" userId="022da341-ef73-48fb-bc20-f47322bbf998" providerId="ADAL" clId="{9E891F1E-6875-4812-ACD0-C456DB8467F3}" dt="2025-09-18T16:18:58.108" v="6902" actId="14100"/>
          <ac:spMkLst>
            <pc:docMk/>
            <pc:sldMk cId="0" sldId="16772971"/>
            <ac:spMk id="15" creationId="{00000000-0000-0000-0000-000000000000}"/>
          </ac:spMkLst>
        </pc:spChg>
      </pc:sldChg>
      <pc:sldChg chg="modSp mod">
        <pc:chgData name="he zhendong/0494938/何　振東" userId="022da341-ef73-48fb-bc20-f47322bbf998" providerId="ADAL" clId="{9E891F1E-6875-4812-ACD0-C456DB8467F3}" dt="2025-09-18T16:28:10.586" v="6969" actId="255"/>
        <pc:sldMkLst>
          <pc:docMk/>
          <pc:sldMk cId="0" sldId="16772972"/>
        </pc:sldMkLst>
        <pc:spChg chg="mod">
          <ac:chgData name="he zhendong/0494938/何　振東" userId="022da341-ef73-48fb-bc20-f47322bbf998" providerId="ADAL" clId="{9E891F1E-6875-4812-ACD0-C456DB8467F3}" dt="2025-09-18T16:28:10.586" v="6969" actId="255"/>
          <ac:spMkLst>
            <pc:docMk/>
            <pc:sldMk cId="0" sldId="16772972"/>
            <ac:spMk id="2" creationId="{00000000-0000-0000-0000-000000000000}"/>
          </ac:spMkLst>
        </pc:spChg>
        <pc:spChg chg="mod">
          <ac:chgData name="he zhendong/0494938/何　振東" userId="022da341-ef73-48fb-bc20-f47322bbf998" providerId="ADAL" clId="{9E891F1E-6875-4812-ACD0-C456DB8467F3}" dt="2025-09-18T16:18:07.695" v="6895" actId="14100"/>
          <ac:spMkLst>
            <pc:docMk/>
            <pc:sldMk cId="0" sldId="16772972"/>
            <ac:spMk id="5" creationId="{E49F7716-4ADD-887A-C09D-8DE5CD82D2E4}"/>
          </ac:spMkLst>
        </pc:spChg>
        <pc:spChg chg="mod">
          <ac:chgData name="he zhendong/0494938/何　振東" userId="022da341-ef73-48fb-bc20-f47322bbf998" providerId="ADAL" clId="{9E891F1E-6875-4812-ACD0-C456DB8467F3}" dt="2025-09-18T07:38:59.969" v="2427" actId="1035"/>
          <ac:spMkLst>
            <pc:docMk/>
            <pc:sldMk cId="0" sldId="16772972"/>
            <ac:spMk id="49" creationId="{00000000-0000-0000-0000-000000000000}"/>
          </ac:spMkLst>
        </pc:spChg>
        <pc:spChg chg="mod">
          <ac:chgData name="he zhendong/0494938/何　振東" userId="022da341-ef73-48fb-bc20-f47322bbf998" providerId="ADAL" clId="{9E891F1E-6875-4812-ACD0-C456DB8467F3}" dt="2025-09-18T07:38:59.969" v="2427" actId="1035"/>
          <ac:spMkLst>
            <pc:docMk/>
            <pc:sldMk cId="0" sldId="16772972"/>
            <ac:spMk id="51" creationId="{00000000-0000-0000-0000-000000000000}"/>
          </ac:spMkLst>
        </pc:spChg>
        <pc:spChg chg="mod">
          <ac:chgData name="he zhendong/0494938/何　振東" userId="022da341-ef73-48fb-bc20-f47322bbf998" providerId="ADAL" clId="{9E891F1E-6875-4812-ACD0-C456DB8467F3}" dt="2025-09-18T07:39:08.973" v="2428" actId="1076"/>
          <ac:spMkLst>
            <pc:docMk/>
            <pc:sldMk cId="0" sldId="16772972"/>
            <ac:spMk id="1057" creationId="{00000000-0000-0000-0000-000000000000}"/>
          </ac:spMkLst>
        </pc:spChg>
        <pc:picChg chg="mod">
          <ac:chgData name="he zhendong/0494938/何　振東" userId="022da341-ef73-48fb-bc20-f47322bbf998" providerId="ADAL" clId="{9E891F1E-6875-4812-ACD0-C456DB8467F3}" dt="2025-09-18T07:38:59.969" v="2427" actId="1035"/>
          <ac:picMkLst>
            <pc:docMk/>
            <pc:sldMk cId="0" sldId="16772972"/>
            <ac:picMk id="10" creationId="{00000000-0000-0000-0000-000000000000}"/>
          </ac:picMkLst>
        </pc:picChg>
        <pc:cxnChg chg="mod">
          <ac:chgData name="he zhendong/0494938/何　振東" userId="022da341-ef73-48fb-bc20-f47322bbf998" providerId="ADAL" clId="{9E891F1E-6875-4812-ACD0-C456DB8467F3}" dt="2025-09-18T07:38:59.969" v="2427" actId="1035"/>
          <ac:cxnSpMkLst>
            <pc:docMk/>
            <pc:sldMk cId="0" sldId="16772972"/>
            <ac:cxnSpMk id="22"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32" creationId="{00000000-0000-0000-0000-000000000000}"/>
          </ac:cxnSpMkLst>
        </pc:cxnChg>
        <pc:cxnChg chg="mod">
          <ac:chgData name="he zhendong/0494938/何　振東" userId="022da341-ef73-48fb-bc20-f47322bbf998" providerId="ADAL" clId="{9E891F1E-6875-4812-ACD0-C456DB8467F3}" dt="2025-09-18T16:17:50.816" v="6893" actId="14100"/>
          <ac:cxnSpMkLst>
            <pc:docMk/>
            <pc:sldMk cId="0" sldId="16772972"/>
            <ac:cxnSpMk id="39"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47"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50" creationId="{00000000-0000-0000-0000-000000000000}"/>
          </ac:cxnSpMkLst>
        </pc:cxnChg>
      </pc:sldChg>
      <pc:sldChg chg="del">
        <pc:chgData name="he zhendong/0494938/何　振東" userId="022da341-ef73-48fb-bc20-f47322bbf998" providerId="ADAL" clId="{9E891F1E-6875-4812-ACD0-C456DB8467F3}" dt="2025-09-18T15:07:34.607" v="6661" actId="47"/>
        <pc:sldMkLst>
          <pc:docMk/>
          <pc:sldMk cId="0" sldId="16772973"/>
        </pc:sldMkLst>
      </pc:sldChg>
      <pc:sldChg chg="del">
        <pc:chgData name="he zhendong/0494938/何　振東" userId="022da341-ef73-48fb-bc20-f47322bbf998" providerId="ADAL" clId="{9E891F1E-6875-4812-ACD0-C456DB8467F3}" dt="2025-09-18T15:07:34.607" v="6661" actId="47"/>
        <pc:sldMkLst>
          <pc:docMk/>
          <pc:sldMk cId="0" sldId="16776351"/>
        </pc:sldMkLst>
      </pc:sldChg>
      <pc:sldChg chg="addSp delSp modSp mod">
        <pc:chgData name="he zhendong/0494938/何　振東" userId="022da341-ef73-48fb-bc20-f47322bbf998" providerId="ADAL" clId="{9E891F1E-6875-4812-ACD0-C456DB8467F3}" dt="2025-09-18T16:27:11.017" v="6961" actId="20577"/>
        <pc:sldMkLst>
          <pc:docMk/>
          <pc:sldMk cId="0" sldId="16776352"/>
        </pc:sldMkLst>
        <pc:spChg chg="mod">
          <ac:chgData name="he zhendong/0494938/何　振東" userId="022da341-ef73-48fb-bc20-f47322bbf998" providerId="ADAL" clId="{9E891F1E-6875-4812-ACD0-C456DB8467F3}" dt="2025-09-18T16:27:11.017" v="6961" actId="20577"/>
          <ac:spMkLst>
            <pc:docMk/>
            <pc:sldMk cId="0" sldId="16776352"/>
            <ac:spMk id="2" creationId="{00000000-0000-0000-0000-000000000000}"/>
          </ac:spMkLst>
        </pc:spChg>
        <pc:spChg chg="add mod">
          <ac:chgData name="he zhendong/0494938/何　振東" userId="022da341-ef73-48fb-bc20-f47322bbf998" providerId="ADAL" clId="{9E891F1E-6875-4812-ACD0-C456DB8467F3}" dt="2025-09-18T16:11:54.673" v="6755" actId="1037"/>
          <ac:spMkLst>
            <pc:docMk/>
            <pc:sldMk cId="0" sldId="16776352"/>
            <ac:spMk id="6" creationId="{178FCCE8-4792-2D25-DA6F-82A527D5F1FA}"/>
          </ac:spMkLst>
        </pc:spChg>
        <pc:spChg chg="del">
          <ac:chgData name="he zhendong/0494938/何　振東" userId="022da341-ef73-48fb-bc20-f47322bbf998" providerId="ADAL" clId="{9E891F1E-6875-4812-ACD0-C456DB8467F3}" dt="2025-09-18T05:58:52.389" v="2279" actId="478"/>
          <ac:spMkLst>
            <pc:docMk/>
            <pc:sldMk cId="0" sldId="16776352"/>
            <ac:spMk id="7" creationId="{00000000-0000-0000-0000-000000000000}"/>
          </ac:spMkLst>
        </pc:spChg>
        <pc:spChg chg="add mod">
          <ac:chgData name="he zhendong/0494938/何　振東" userId="022da341-ef73-48fb-bc20-f47322bbf998" providerId="ADAL" clId="{9E891F1E-6875-4812-ACD0-C456DB8467F3}" dt="2025-09-18T16:12:11.212" v="6766" actId="14100"/>
          <ac:spMkLst>
            <pc:docMk/>
            <pc:sldMk cId="0" sldId="16776352"/>
            <ac:spMk id="7" creationId="{D37A1C8A-CE1F-BE36-7865-1CB2C53DCC46}"/>
          </ac:spMkLst>
        </pc:spChg>
        <pc:spChg chg="add del mod">
          <ac:chgData name="he zhendong/0494938/何　振東" userId="022da341-ef73-48fb-bc20-f47322bbf998" providerId="ADAL" clId="{9E891F1E-6875-4812-ACD0-C456DB8467F3}" dt="2025-09-18T08:03:32.628" v="3499" actId="478"/>
          <ac:spMkLst>
            <pc:docMk/>
            <pc:sldMk cId="0" sldId="16776352"/>
            <ac:spMk id="7" creationId="{F2A8E43D-94D0-7186-101D-6E90E831649D}"/>
          </ac:spMkLst>
        </pc:spChg>
        <pc:spChg chg="add mod">
          <ac:chgData name="he zhendong/0494938/何　振東" userId="022da341-ef73-48fb-bc20-f47322bbf998" providerId="ADAL" clId="{9E891F1E-6875-4812-ACD0-C456DB8467F3}" dt="2025-09-18T16:11:54.673" v="6755" actId="1037"/>
          <ac:spMkLst>
            <pc:docMk/>
            <pc:sldMk cId="0" sldId="16776352"/>
            <ac:spMk id="11" creationId="{26130295-4BA5-2BD7-6A42-E8D957747847}"/>
          </ac:spMkLst>
        </pc:spChg>
        <pc:spChg chg="mod">
          <ac:chgData name="he zhendong/0494938/何　振東" userId="022da341-ef73-48fb-bc20-f47322bbf998" providerId="ADAL" clId="{9E891F1E-6875-4812-ACD0-C456DB8467F3}" dt="2025-09-18T08:01:16.841" v="3444" actId="404"/>
          <ac:spMkLst>
            <pc:docMk/>
            <pc:sldMk cId="0" sldId="16776352"/>
            <ac:spMk id="15" creationId="{00000000-0000-0000-0000-000000000000}"/>
          </ac:spMkLst>
        </pc:spChg>
        <pc:spChg chg="add mod">
          <ac:chgData name="he zhendong/0494938/何　振東" userId="022da341-ef73-48fb-bc20-f47322bbf998" providerId="ADAL" clId="{9E891F1E-6875-4812-ACD0-C456DB8467F3}" dt="2025-09-18T16:11:54.673" v="6755" actId="1037"/>
          <ac:spMkLst>
            <pc:docMk/>
            <pc:sldMk cId="0" sldId="16776352"/>
            <ac:spMk id="19" creationId="{CE75689F-796A-9AA2-93B7-9CAA7765CEC1}"/>
          </ac:spMkLst>
        </pc:spChg>
        <pc:spChg chg="add mod">
          <ac:chgData name="he zhendong/0494938/何　振東" userId="022da341-ef73-48fb-bc20-f47322bbf998" providerId="ADAL" clId="{9E891F1E-6875-4812-ACD0-C456DB8467F3}" dt="2025-09-18T16:11:54.673" v="6755" actId="1037"/>
          <ac:spMkLst>
            <pc:docMk/>
            <pc:sldMk cId="0" sldId="16776352"/>
            <ac:spMk id="39" creationId="{617DB24C-6360-A48E-3E41-4A96593FC94F}"/>
          </ac:spMkLst>
        </pc:spChg>
        <pc:spChg chg="add del mod">
          <ac:chgData name="he zhendong/0494938/何　振東" userId="022da341-ef73-48fb-bc20-f47322bbf998" providerId="ADAL" clId="{9E891F1E-6875-4812-ACD0-C456DB8467F3}" dt="2025-09-18T16:11:38.854" v="6727" actId="478"/>
          <ac:spMkLst>
            <pc:docMk/>
            <pc:sldMk cId="0" sldId="16776352"/>
            <ac:spMk id="48" creationId="{CE3EA390-5740-436D-28B9-09C986BD2B2C}"/>
          </ac:spMkLst>
        </pc:spChg>
        <pc:picChg chg="add mod">
          <ac:chgData name="he zhendong/0494938/何　振東" userId="022da341-ef73-48fb-bc20-f47322bbf998" providerId="ADAL" clId="{9E891F1E-6875-4812-ACD0-C456DB8467F3}" dt="2025-09-18T16:11:54.673" v="6755" actId="1037"/>
          <ac:picMkLst>
            <pc:docMk/>
            <pc:sldMk cId="0" sldId="16776352"/>
            <ac:picMk id="3" creationId="{782386FB-898C-0717-BDB7-73A999872525}"/>
          </ac:picMkLst>
        </pc:picChg>
        <pc:picChg chg="add mod">
          <ac:chgData name="he zhendong/0494938/何　振東" userId="022da341-ef73-48fb-bc20-f47322bbf998" providerId="ADAL" clId="{9E891F1E-6875-4812-ACD0-C456DB8467F3}" dt="2025-09-18T16:11:54.673" v="6755" actId="1037"/>
          <ac:picMkLst>
            <pc:docMk/>
            <pc:sldMk cId="0" sldId="16776352"/>
            <ac:picMk id="4" creationId="{269F6357-5908-BEC3-1B53-CE426C0999BC}"/>
          </ac:picMkLst>
        </pc:picChg>
        <pc:picChg chg="add mod">
          <ac:chgData name="he zhendong/0494938/何　振東" userId="022da341-ef73-48fb-bc20-f47322bbf998" providerId="ADAL" clId="{9E891F1E-6875-4812-ACD0-C456DB8467F3}" dt="2025-09-18T16:11:54.673" v="6755" actId="1037"/>
          <ac:picMkLst>
            <pc:docMk/>
            <pc:sldMk cId="0" sldId="16776352"/>
            <ac:picMk id="5" creationId="{CD476A42-664A-A687-6190-EEA8F871DBF0}"/>
          </ac:picMkLst>
        </pc:picChg>
        <pc:picChg chg="add del mod">
          <ac:chgData name="he zhendong/0494938/何　振東" userId="022da341-ef73-48fb-bc20-f47322bbf998" providerId="ADAL" clId="{9E891F1E-6875-4812-ACD0-C456DB8467F3}" dt="2025-09-18T08:04:03.471" v="3506" actId="478"/>
          <ac:picMkLst>
            <pc:docMk/>
            <pc:sldMk cId="0" sldId="16776352"/>
            <ac:picMk id="10" creationId="{0971A8B8-887A-B081-1660-DD56BCB57618}"/>
          </ac:picMkLst>
        </pc:picChg>
        <pc:picChg chg="add mod">
          <ac:chgData name="he zhendong/0494938/何　振東" userId="022da341-ef73-48fb-bc20-f47322bbf998" providerId="ADAL" clId="{9E891F1E-6875-4812-ACD0-C456DB8467F3}" dt="2025-09-18T16:11:54.673" v="6755" actId="1037"/>
          <ac:picMkLst>
            <pc:docMk/>
            <pc:sldMk cId="0" sldId="16776352"/>
            <ac:picMk id="20" creationId="{36492227-8BCD-FE3A-26B9-76411D651CEA}"/>
          </ac:picMkLst>
        </pc:picChg>
        <pc:picChg chg="add del mod">
          <ac:chgData name="he zhendong/0494938/何　振東" userId="022da341-ef73-48fb-bc20-f47322bbf998" providerId="ADAL" clId="{9E891F1E-6875-4812-ACD0-C456DB8467F3}" dt="2025-09-18T16:10:26.045" v="6673" actId="478"/>
          <ac:picMkLst>
            <pc:docMk/>
            <pc:sldMk cId="0" sldId="16776352"/>
            <ac:picMk id="47" creationId="{6E75CB1C-50E2-60C7-707A-0CFFDB5C3D5C}"/>
          </ac:picMkLst>
        </pc:picChg>
        <pc:picChg chg="add mod">
          <ac:chgData name="he zhendong/0494938/何　振東" userId="022da341-ef73-48fb-bc20-f47322bbf998" providerId="ADAL" clId="{9E891F1E-6875-4812-ACD0-C456DB8467F3}" dt="2025-09-18T16:11:54.673" v="6755" actId="1037"/>
          <ac:picMkLst>
            <pc:docMk/>
            <pc:sldMk cId="0" sldId="16776352"/>
            <ac:picMk id="2050" creationId="{43295ADE-FC47-FFA1-997D-4CE580DDFC81}"/>
          </ac:picMkLst>
        </pc:picChg>
        <pc:cxnChg chg="add mod">
          <ac:chgData name="he zhendong/0494938/何　振東" userId="022da341-ef73-48fb-bc20-f47322bbf998" providerId="ADAL" clId="{9E891F1E-6875-4812-ACD0-C456DB8467F3}" dt="2025-09-18T08:08:53.780" v="3705" actId="14100"/>
          <ac:cxnSpMkLst>
            <pc:docMk/>
            <pc:sldMk cId="0" sldId="16776352"/>
            <ac:cxnSpMk id="9" creationId="{309FC341-0A55-57C8-568A-ADF49AF1D0A9}"/>
          </ac:cxnSpMkLst>
        </pc:cxnChg>
        <pc:cxnChg chg="add mod">
          <ac:chgData name="he zhendong/0494938/何　振東" userId="022da341-ef73-48fb-bc20-f47322bbf998" providerId="ADAL" clId="{9E891F1E-6875-4812-ACD0-C456DB8467F3}" dt="2025-09-18T08:08:36.591" v="3703" actId="1036"/>
          <ac:cxnSpMkLst>
            <pc:docMk/>
            <pc:sldMk cId="0" sldId="16776352"/>
            <ac:cxnSpMk id="12" creationId="{BEB9D20D-36A3-33BF-2564-ACAC6A4335A0}"/>
          </ac:cxnSpMkLst>
        </pc:cxnChg>
        <pc:cxnChg chg="add">
          <ac:chgData name="he zhendong/0494938/何　振東" userId="022da341-ef73-48fb-bc20-f47322bbf998" providerId="ADAL" clId="{9E891F1E-6875-4812-ACD0-C456DB8467F3}" dt="2025-09-18T08:07:17.729" v="3652" actId="11529"/>
          <ac:cxnSpMkLst>
            <pc:docMk/>
            <pc:sldMk cId="0" sldId="16776352"/>
            <ac:cxnSpMk id="22" creationId="{A514F95F-2C0F-795C-1F2C-4D0E58CD9B08}"/>
          </ac:cxnSpMkLst>
        </pc:cxnChg>
        <pc:cxnChg chg="add mod">
          <ac:chgData name="he zhendong/0494938/何　振東" userId="022da341-ef73-48fb-bc20-f47322bbf998" providerId="ADAL" clId="{9E891F1E-6875-4812-ACD0-C456DB8467F3}" dt="2025-09-18T08:08:28.675" v="3689" actId="465"/>
          <ac:cxnSpMkLst>
            <pc:docMk/>
            <pc:sldMk cId="0" sldId="16776352"/>
            <ac:cxnSpMk id="24" creationId="{FA57C126-002E-5304-45D5-EE9FBE4FD342}"/>
          </ac:cxnSpMkLst>
        </pc:cxnChg>
        <pc:cxnChg chg="add mod">
          <ac:chgData name="he zhendong/0494938/何　振東" userId="022da341-ef73-48fb-bc20-f47322bbf998" providerId="ADAL" clId="{9E891F1E-6875-4812-ACD0-C456DB8467F3}" dt="2025-09-18T08:11:52.368" v="3769" actId="692"/>
          <ac:cxnSpMkLst>
            <pc:docMk/>
            <pc:sldMk cId="0" sldId="16776352"/>
            <ac:cxnSpMk id="27" creationId="{B680A17E-0D76-24FF-D1DF-F363484CC77C}"/>
          </ac:cxnSpMkLst>
        </pc:cxnChg>
        <pc:cxnChg chg="add mod">
          <ac:chgData name="he zhendong/0494938/何　振東" userId="022da341-ef73-48fb-bc20-f47322bbf998" providerId="ADAL" clId="{9E891F1E-6875-4812-ACD0-C456DB8467F3}" dt="2025-09-18T08:08:17.808" v="3688" actId="1036"/>
          <ac:cxnSpMkLst>
            <pc:docMk/>
            <pc:sldMk cId="0" sldId="16776352"/>
            <ac:cxnSpMk id="30" creationId="{6F6993E4-A9A6-94E1-A556-126067F85DA0}"/>
          </ac:cxnSpMkLst>
        </pc:cxnChg>
        <pc:cxnChg chg="add mod">
          <ac:chgData name="he zhendong/0494938/何　振東" userId="022da341-ef73-48fb-bc20-f47322bbf998" providerId="ADAL" clId="{9E891F1E-6875-4812-ACD0-C456DB8467F3}" dt="2025-09-18T08:10:45.289" v="3713" actId="1076"/>
          <ac:cxnSpMkLst>
            <pc:docMk/>
            <pc:sldMk cId="0" sldId="16776352"/>
            <ac:cxnSpMk id="33" creationId="{795FF30D-DB80-CB33-286A-0ECBEC243CDB}"/>
          </ac:cxnSpMkLst>
        </pc:cxnChg>
        <pc:cxnChg chg="add mod">
          <ac:chgData name="he zhendong/0494938/何　振東" userId="022da341-ef73-48fb-bc20-f47322bbf998" providerId="ADAL" clId="{9E891F1E-6875-4812-ACD0-C456DB8467F3}" dt="2025-09-18T08:12:08.923" v="3781" actId="1037"/>
          <ac:cxnSpMkLst>
            <pc:docMk/>
            <pc:sldMk cId="0" sldId="16776352"/>
            <ac:cxnSpMk id="40" creationId="{BD20209A-CAB3-3DB2-13C7-8449EC82A657}"/>
          </ac:cxnSpMkLst>
        </pc:cxnChg>
        <pc:cxnChg chg="add mod">
          <ac:chgData name="he zhendong/0494938/何　振東" userId="022da341-ef73-48fb-bc20-f47322bbf998" providerId="ADAL" clId="{9E891F1E-6875-4812-ACD0-C456DB8467F3}" dt="2025-09-18T08:12:08.923" v="3781" actId="1037"/>
          <ac:cxnSpMkLst>
            <pc:docMk/>
            <pc:sldMk cId="0" sldId="16776352"/>
            <ac:cxnSpMk id="43" creationId="{F3370940-4D84-9F8D-5781-4C738154AA47}"/>
          </ac:cxnSpMkLst>
        </pc:cxnChg>
      </pc:sldChg>
      <pc:sldChg chg="modSp mod">
        <pc:chgData name="he zhendong/0494938/何　振東" userId="022da341-ef73-48fb-bc20-f47322bbf998" providerId="ADAL" clId="{9E891F1E-6875-4812-ACD0-C456DB8467F3}" dt="2025-09-18T16:16:32.361" v="6871" actId="1076"/>
        <pc:sldMkLst>
          <pc:docMk/>
          <pc:sldMk cId="490570015" sldId="16776353"/>
        </pc:sldMkLst>
        <pc:graphicFrameChg chg="mod">
          <ac:chgData name="he zhendong/0494938/何　振東" userId="022da341-ef73-48fb-bc20-f47322bbf998" providerId="ADAL" clId="{9E891F1E-6875-4812-ACD0-C456DB8467F3}" dt="2025-09-18T16:16:32.361" v="6871" actId="1076"/>
          <ac:graphicFrameMkLst>
            <pc:docMk/>
            <pc:sldMk cId="490570015" sldId="16776353"/>
            <ac:graphicFrameMk id="7" creationId="{12C87BA9-C0B9-D7F8-6EC4-F7BD151BE9A3}"/>
          </ac:graphicFrameMkLst>
        </pc:graphicFrameChg>
      </pc:sldChg>
      <pc:sldChg chg="modSp mod">
        <pc:chgData name="he zhendong/0494938/何　振東" userId="022da341-ef73-48fb-bc20-f47322bbf998" providerId="ADAL" clId="{9E891F1E-6875-4812-ACD0-C456DB8467F3}" dt="2025-09-18T16:16:26.824" v="6870" actId="1076"/>
        <pc:sldMkLst>
          <pc:docMk/>
          <pc:sldMk cId="670289832" sldId="16776354"/>
        </pc:sldMkLst>
        <pc:graphicFrameChg chg="mod">
          <ac:chgData name="he zhendong/0494938/何　振東" userId="022da341-ef73-48fb-bc20-f47322bbf998" providerId="ADAL" clId="{9E891F1E-6875-4812-ACD0-C456DB8467F3}" dt="2025-09-18T16:16:26.824" v="6870" actId="1076"/>
          <ac:graphicFrameMkLst>
            <pc:docMk/>
            <pc:sldMk cId="670289832" sldId="16776354"/>
            <ac:graphicFrameMk id="5" creationId="{0972F7E1-D324-7C95-AAA8-6DD6247E2C6E}"/>
          </ac:graphicFrameMkLst>
        </pc:graphicFrameChg>
      </pc:sldChg>
      <pc:sldChg chg="modSp mod">
        <pc:chgData name="he zhendong/0494938/何　振東" userId="022da341-ef73-48fb-bc20-f47322bbf998" providerId="ADAL" clId="{9E891F1E-6875-4812-ACD0-C456DB8467F3}" dt="2025-09-18T16:16:19.891" v="6869" actId="1076"/>
        <pc:sldMkLst>
          <pc:docMk/>
          <pc:sldMk cId="3766533062" sldId="16776355"/>
        </pc:sldMkLst>
        <pc:graphicFrameChg chg="mod">
          <ac:chgData name="he zhendong/0494938/何　振東" userId="022da341-ef73-48fb-bc20-f47322bbf998" providerId="ADAL" clId="{9E891F1E-6875-4812-ACD0-C456DB8467F3}" dt="2025-09-18T16:16:19.891" v="6869" actId="1076"/>
          <ac:graphicFrameMkLst>
            <pc:docMk/>
            <pc:sldMk cId="3766533062" sldId="16776355"/>
            <ac:graphicFrameMk id="6" creationId="{222F90E7-C603-055B-C149-663D0397BE88}"/>
          </ac:graphicFrameMkLst>
        </pc:graphicFrameChg>
      </pc:sldChg>
      <pc:sldChg chg="modSp mod">
        <pc:chgData name="he zhendong/0494938/何　振東" userId="022da341-ef73-48fb-bc20-f47322bbf998" providerId="ADAL" clId="{9E891F1E-6875-4812-ACD0-C456DB8467F3}" dt="2025-09-18T16:16:11.720" v="6868" actId="14100"/>
        <pc:sldMkLst>
          <pc:docMk/>
          <pc:sldMk cId="2578704490" sldId="16776356"/>
        </pc:sldMkLst>
        <pc:graphicFrameChg chg="mod modGraphic">
          <ac:chgData name="he zhendong/0494938/何　振東" userId="022da341-ef73-48fb-bc20-f47322bbf998" providerId="ADAL" clId="{9E891F1E-6875-4812-ACD0-C456DB8467F3}" dt="2025-09-18T16:16:11.720" v="6868" actId="14100"/>
          <ac:graphicFrameMkLst>
            <pc:docMk/>
            <pc:sldMk cId="2578704490" sldId="16776356"/>
            <ac:graphicFrameMk id="5" creationId="{79886BEB-E96A-6CDA-3769-DFDFF7A883AA}"/>
          </ac:graphicFrameMkLst>
        </pc:graphicFrameChg>
      </pc:sldChg>
      <pc:sldChg chg="del">
        <pc:chgData name="he zhendong/0494938/何　振東" userId="022da341-ef73-48fb-bc20-f47322bbf998" providerId="ADAL" clId="{9E891F1E-6875-4812-ACD0-C456DB8467F3}" dt="2025-09-18T15:07:34.607" v="6661" actId="47"/>
        <pc:sldMkLst>
          <pc:docMk/>
          <pc:sldMk cId="1813203543" sldId="16776357"/>
        </pc:sldMkLst>
      </pc:sldChg>
      <pc:sldChg chg="delSp mod">
        <pc:chgData name="he zhendong/0494938/何　振東" userId="022da341-ef73-48fb-bc20-f47322bbf998" providerId="ADAL" clId="{9E891F1E-6875-4812-ACD0-C456DB8467F3}" dt="2025-09-18T07:28:36.676" v="2410" actId="478"/>
        <pc:sldMkLst>
          <pc:docMk/>
          <pc:sldMk cId="1363248825" sldId="16776359"/>
        </pc:sldMkLst>
        <pc:spChg chg="del">
          <ac:chgData name="he zhendong/0494938/何　振東" userId="022da341-ef73-48fb-bc20-f47322bbf998" providerId="ADAL" clId="{9E891F1E-6875-4812-ACD0-C456DB8467F3}" dt="2025-09-18T07:28:36.676" v="2410" actId="478"/>
          <ac:spMkLst>
            <pc:docMk/>
            <pc:sldMk cId="1363248825" sldId="16776359"/>
            <ac:spMk id="4" creationId="{C5058F42-8AFD-4182-1357-8602C1BBB01F}"/>
          </ac:spMkLst>
        </pc:spChg>
        <pc:spChg chg="del">
          <ac:chgData name="he zhendong/0494938/何　振東" userId="022da341-ef73-48fb-bc20-f47322bbf998" providerId="ADAL" clId="{9E891F1E-6875-4812-ACD0-C456DB8467F3}" dt="2025-09-18T07:28:36.676" v="2410" actId="478"/>
          <ac:spMkLst>
            <pc:docMk/>
            <pc:sldMk cId="1363248825" sldId="16776359"/>
            <ac:spMk id="9" creationId="{16F23AE7-E6A9-D16A-0F93-35862BD2378D}"/>
          </ac:spMkLst>
        </pc:spChg>
        <pc:spChg chg="del">
          <ac:chgData name="he zhendong/0494938/何　振東" userId="022da341-ef73-48fb-bc20-f47322bbf998" providerId="ADAL" clId="{9E891F1E-6875-4812-ACD0-C456DB8467F3}" dt="2025-09-18T07:28:36.676" v="2410" actId="478"/>
          <ac:spMkLst>
            <pc:docMk/>
            <pc:sldMk cId="1363248825" sldId="16776359"/>
            <ac:spMk id="25" creationId="{B470982F-B661-0746-3E94-8A8B330D7CE3}"/>
          </ac:spMkLst>
        </pc:spChg>
      </pc:sldChg>
      <pc:sldChg chg="del">
        <pc:chgData name="he zhendong/0494938/何　振東" userId="022da341-ef73-48fb-bc20-f47322bbf998" providerId="ADAL" clId="{9E891F1E-6875-4812-ACD0-C456DB8467F3}" dt="2025-09-18T15:07:34.607" v="6661" actId="47"/>
        <pc:sldMkLst>
          <pc:docMk/>
          <pc:sldMk cId="1268909425" sldId="16776362"/>
        </pc:sldMkLst>
      </pc:sldChg>
      <pc:sldChg chg="addSp delSp modSp del mod ord modClrScheme chgLayout">
        <pc:chgData name="he zhendong/0494938/何　振東" userId="022da341-ef73-48fb-bc20-f47322bbf998" providerId="ADAL" clId="{9E891F1E-6875-4812-ACD0-C456DB8467F3}" dt="2025-09-18T15:07:34.607" v="6661" actId="47"/>
        <pc:sldMkLst>
          <pc:docMk/>
          <pc:sldMk cId="2881211015" sldId="16776363"/>
        </pc:sldMkLst>
        <pc:spChg chg="add mod ord">
          <ac:chgData name="he zhendong/0494938/何　振東" userId="022da341-ef73-48fb-bc20-f47322bbf998" providerId="ADAL" clId="{9E891F1E-6875-4812-ACD0-C456DB8467F3}" dt="2025-09-18T05:57:47.567" v="2269" actId="700"/>
          <ac:spMkLst>
            <pc:docMk/>
            <pc:sldMk cId="2881211015" sldId="16776363"/>
            <ac:spMk id="2" creationId="{58E6BDEA-FC83-811B-2716-9CBF9335B9BA}"/>
          </ac:spMkLst>
        </pc:spChg>
        <pc:spChg chg="mod ord">
          <ac:chgData name="he zhendong/0494938/何　振東" userId="022da341-ef73-48fb-bc20-f47322bbf998" providerId="ADAL" clId="{9E891F1E-6875-4812-ACD0-C456DB8467F3}" dt="2025-09-18T05:57:47.567" v="2269" actId="700"/>
          <ac:spMkLst>
            <pc:docMk/>
            <pc:sldMk cId="2881211015" sldId="16776363"/>
            <ac:spMk id="4" creationId="{891E8B8E-8486-09C3-9D96-58B3ABABEB25}"/>
          </ac:spMkLst>
        </pc:spChg>
        <pc:spChg chg="del mod ord">
          <ac:chgData name="he zhendong/0494938/何　振東" userId="022da341-ef73-48fb-bc20-f47322bbf998" providerId="ADAL" clId="{9E891F1E-6875-4812-ACD0-C456DB8467F3}" dt="2025-09-18T05:57:47.567" v="2269" actId="700"/>
          <ac:spMkLst>
            <pc:docMk/>
            <pc:sldMk cId="2881211015" sldId="16776363"/>
            <ac:spMk id="5" creationId="{0E153B27-3C44-BC5F-66F9-750D2846250C}"/>
          </ac:spMkLst>
        </pc:spChg>
        <pc:spChg chg="del">
          <ac:chgData name="he zhendong/0494938/何　振東" userId="022da341-ef73-48fb-bc20-f47322bbf998" providerId="ADAL" clId="{9E891F1E-6875-4812-ACD0-C456DB8467F3}" dt="2025-09-18T05:57:47.567" v="2269" actId="700"/>
          <ac:spMkLst>
            <pc:docMk/>
            <pc:sldMk cId="2881211015" sldId="16776363"/>
            <ac:spMk id="6" creationId="{2EDA2163-E56A-11CA-3654-4831D328FDC5}"/>
          </ac:spMkLst>
        </pc:spChg>
      </pc:sldChg>
      <pc:sldChg chg="addSp delSp modSp add mod">
        <pc:chgData name="he zhendong/0494938/何　振東" userId="022da341-ef73-48fb-bc20-f47322bbf998" providerId="ADAL" clId="{9E891F1E-6875-4812-ACD0-C456DB8467F3}" dt="2025-09-18T16:17:24.248" v="6892" actId="1076"/>
        <pc:sldMkLst>
          <pc:docMk/>
          <pc:sldMk cId="1737784919" sldId="16776364"/>
        </pc:sldMkLst>
        <pc:spChg chg="mod">
          <ac:chgData name="he zhendong/0494938/何　振東" userId="022da341-ef73-48fb-bc20-f47322bbf998" providerId="ADAL" clId="{9E891F1E-6875-4812-ACD0-C456DB8467F3}" dt="2025-09-18T08:49:17.047" v="4448" actId="20577"/>
          <ac:spMkLst>
            <pc:docMk/>
            <pc:sldMk cId="1737784919" sldId="16776364"/>
            <ac:spMk id="2" creationId="{E4E7DFC3-2567-C19D-011B-FF966B155ACC}"/>
          </ac:spMkLst>
        </pc:spChg>
        <pc:spChg chg="del">
          <ac:chgData name="he zhendong/0494938/何　振東" userId="022da341-ef73-48fb-bc20-f47322bbf998" providerId="ADAL" clId="{9E891F1E-6875-4812-ACD0-C456DB8467F3}" dt="2025-09-18T16:08:25.800" v="6671" actId="478"/>
          <ac:spMkLst>
            <pc:docMk/>
            <pc:sldMk cId="1737784919" sldId="16776364"/>
            <ac:spMk id="3" creationId="{266040C3-99F6-688E-F0C0-9A7AB40BB3E6}"/>
          </ac:spMkLst>
        </pc:spChg>
        <pc:spChg chg="del">
          <ac:chgData name="he zhendong/0494938/何　振東" userId="022da341-ef73-48fb-bc20-f47322bbf998" providerId="ADAL" clId="{9E891F1E-6875-4812-ACD0-C456DB8467F3}" dt="2025-09-18T08:45:37.057" v="4403" actId="478"/>
          <ac:spMkLst>
            <pc:docMk/>
            <pc:sldMk cId="1737784919" sldId="16776364"/>
            <ac:spMk id="3" creationId="{AB617290-9E2F-04E9-22B4-96CE819B95A6}"/>
          </ac:spMkLst>
        </pc:spChg>
        <pc:spChg chg="add mod">
          <ac:chgData name="he zhendong/0494938/何　振東" userId="022da341-ef73-48fb-bc20-f47322bbf998" providerId="ADAL" clId="{9E891F1E-6875-4812-ACD0-C456DB8467F3}" dt="2025-09-18T08:58:10.338" v="5155" actId="1076"/>
          <ac:spMkLst>
            <pc:docMk/>
            <pc:sldMk cId="1737784919" sldId="16776364"/>
            <ac:spMk id="5" creationId="{07BD27C6-F2DC-7472-D127-616D54BFA62E}"/>
          </ac:spMkLst>
        </pc:spChg>
        <pc:spChg chg="add mod">
          <ac:chgData name="he zhendong/0494938/何　振東" userId="022da341-ef73-48fb-bc20-f47322bbf998" providerId="ADAL" clId="{9E891F1E-6875-4812-ACD0-C456DB8467F3}" dt="2025-09-18T16:17:24.248" v="6892" actId="1076"/>
          <ac:spMkLst>
            <pc:docMk/>
            <pc:sldMk cId="1737784919" sldId="16776364"/>
            <ac:spMk id="6" creationId="{9AFC5A8A-1F4E-61BF-A8DA-B444B8655B2C}"/>
          </ac:spMkLst>
        </pc:spChg>
        <pc:spChg chg="mod">
          <ac:chgData name="he zhendong/0494938/何　振東" userId="022da341-ef73-48fb-bc20-f47322bbf998" providerId="ADAL" clId="{9E891F1E-6875-4812-ACD0-C456DB8467F3}" dt="2025-09-18T16:16:45.758" v="6873" actId="14100"/>
          <ac:spMkLst>
            <pc:docMk/>
            <pc:sldMk cId="1737784919" sldId="16776364"/>
            <ac:spMk id="15" creationId="{3FD1C739-5DD0-ADCD-D9FB-6440AEDE687F}"/>
          </ac:spMkLst>
        </pc:spChg>
        <pc:graphicFrameChg chg="add mod modGraphic">
          <ac:chgData name="he zhendong/0494938/何　振東" userId="022da341-ef73-48fb-bc20-f47322bbf998" providerId="ADAL" clId="{9E891F1E-6875-4812-ACD0-C456DB8467F3}" dt="2025-09-18T16:17:18.153" v="6891" actId="20577"/>
          <ac:graphicFrameMkLst>
            <pc:docMk/>
            <pc:sldMk cId="1737784919" sldId="16776364"/>
            <ac:graphicFrameMk id="4" creationId="{83EDAD6E-DA98-32A4-512A-FC93FEBFEFD1}"/>
          </ac:graphicFrameMkLst>
        </pc:graphicFrameChg>
        <pc:picChg chg="add mod">
          <ac:chgData name="he zhendong/0494938/何　振東" userId="022da341-ef73-48fb-bc20-f47322bbf998" providerId="ADAL" clId="{9E891F1E-6875-4812-ACD0-C456DB8467F3}" dt="2025-09-18T08:58:13.815" v="5157" actId="1076"/>
          <ac:picMkLst>
            <pc:docMk/>
            <pc:sldMk cId="1737784919" sldId="16776364"/>
            <ac:picMk id="3074" creationId="{2F5C4424-93FB-92F0-8866-02FE9EBA1073}"/>
          </ac:picMkLst>
        </pc:picChg>
      </pc:sldChg>
      <pc:sldMasterChg chg="addSp modSp mod">
        <pc:chgData name="he zhendong/0494938/何　振東" userId="022da341-ef73-48fb-bc20-f47322bbf998" providerId="ADAL" clId="{9E891F1E-6875-4812-ACD0-C456DB8467F3}" dt="2025-09-18T16:20:55.234" v="6931" actId="255"/>
        <pc:sldMasterMkLst>
          <pc:docMk/>
          <pc:sldMasterMk cId="0" sldId="2147483648"/>
        </pc:sldMasterMkLst>
        <pc:spChg chg="add mod">
          <ac:chgData name="he zhendong/0494938/何　振東" userId="022da341-ef73-48fb-bc20-f47322bbf998" providerId="ADAL" clId="{9E891F1E-6875-4812-ACD0-C456DB8467F3}" dt="2025-09-18T16:20:51.021" v="6930" actId="403"/>
          <ac:spMkLst>
            <pc:docMk/>
            <pc:sldMasterMk cId="0" sldId="2147483648"/>
            <ac:spMk id="2" creationId="{764A59F0-2069-F9E9-40A7-A1BBAD6E4EFB}"/>
          </ac:spMkLst>
        </pc:spChg>
        <pc:spChg chg="add mod">
          <ac:chgData name="he zhendong/0494938/何　振東" userId="022da341-ef73-48fb-bc20-f47322bbf998" providerId="ADAL" clId="{9E891F1E-6875-4812-ACD0-C456DB8467F3}" dt="2025-09-18T16:20:55.234" v="6931" actId="255"/>
          <ac:spMkLst>
            <pc:docMk/>
            <pc:sldMasterMk cId="0" sldId="2147483648"/>
            <ac:spMk id="4" creationId="{2D5E64BD-8D93-ABED-1728-9D31E5A8E063}"/>
          </ac:spMkLst>
        </pc:spChg>
        <pc:spChg chg="mod">
          <ac:chgData name="he zhendong/0494938/何　振東" userId="022da341-ef73-48fb-bc20-f47322bbf998" providerId="ADAL" clId="{9E891F1E-6875-4812-ACD0-C456DB8467F3}" dt="2025-09-18T16:20:37.955" v="6912" actId="14100"/>
          <ac:spMkLst>
            <pc:docMk/>
            <pc:sldMasterMk cId="0" sldId="2147483648"/>
            <ac:spMk id="5" creationId="{00000000-0000-0000-0000-000000000000}"/>
          </ac:spMkLst>
        </pc:spChg>
        <pc:spChg chg="mod">
          <ac:chgData name="he zhendong/0494938/何　振東" userId="022da341-ef73-48fb-bc20-f47322bbf998" providerId="ADAL" clId="{9E891F1E-6875-4812-ACD0-C456DB8467F3}" dt="2025-09-18T16:20:37.955" v="6912" actId="14100"/>
          <ac:spMkLst>
            <pc:docMk/>
            <pc:sldMasterMk cId="0" sldId="2147483648"/>
            <ac:spMk id="6" creationId="{00000000-0000-0000-0000-000000000000}"/>
          </ac:spMkLst>
        </pc:spChg>
      </pc:sldMasterChg>
      <pc:sldMasterChg chg="addSp modSp delSldLayout">
        <pc:chgData name="he zhendong/0494938/何　振東" userId="022da341-ef73-48fb-bc20-f47322bbf998" providerId="ADAL" clId="{9E891F1E-6875-4812-ACD0-C456DB8467F3}" dt="2025-09-18T16:21:08.467" v="6932"/>
        <pc:sldMasterMkLst>
          <pc:docMk/>
          <pc:sldMasterMk cId="0" sldId="2147483722"/>
        </pc:sldMasterMkLst>
        <pc:spChg chg="add mod">
          <ac:chgData name="he zhendong/0494938/何　振東" userId="022da341-ef73-48fb-bc20-f47322bbf998" providerId="ADAL" clId="{9E891F1E-6875-4812-ACD0-C456DB8467F3}" dt="2025-09-18T16:21:08.467" v="6932"/>
          <ac:spMkLst>
            <pc:docMk/>
            <pc:sldMasterMk cId="0" sldId="2147483722"/>
            <ac:spMk id="11" creationId="{8C885B16-9EFC-FFAE-15EC-36CF30048766}"/>
          </ac:spMkLst>
        </pc:spChg>
        <pc:spChg chg="add mod">
          <ac:chgData name="he zhendong/0494938/何　振東" userId="022da341-ef73-48fb-bc20-f47322bbf998" providerId="ADAL" clId="{9E891F1E-6875-4812-ACD0-C456DB8467F3}" dt="2025-09-18T16:21:08.467" v="6932"/>
          <ac:spMkLst>
            <pc:docMk/>
            <pc:sldMasterMk cId="0" sldId="2147483722"/>
            <ac:spMk id="12" creationId="{DF920A77-A912-E3F9-5C1A-6B4FFC7124D3}"/>
          </ac:spMkLst>
        </pc:spChg>
        <pc:sldLayoutChg chg="del">
          <pc:chgData name="he zhendong/0494938/何　振東" userId="022da341-ef73-48fb-bc20-f47322bbf998" providerId="ADAL" clId="{9E891F1E-6875-4812-ACD0-C456DB8467F3}" dt="2025-09-18T15:07:34.607" v="6661" actId="47"/>
          <pc:sldLayoutMkLst>
            <pc:docMk/>
            <pc:sldMasterMk cId="0" sldId="2147483722"/>
            <pc:sldLayoutMk cId="0" sldId="2147483734"/>
          </pc:sldLayoutMkLst>
        </pc:sldLayoutChg>
      </pc:sldMasterChg>
    </pc:docChg>
  </pc:docChgLst>
  <pc:docChgLst>
    <pc:chgData name="zhang lei/0897280/張　磊" userId="da02d54a-4a7c-4aa9-8f53-f33a19c6b65f" providerId="ADAL" clId="{1AAB3108-9881-428E-AC54-A8A160C47117}"/>
    <pc:docChg chg="undo redo custSel delSld modSld modSection">
      <pc:chgData name="zhang lei/0897280/張　磊" userId="da02d54a-4a7c-4aa9-8f53-f33a19c6b65f" providerId="ADAL" clId="{1AAB3108-9881-428E-AC54-A8A160C47117}" dt="2025-09-18T13:58:56.242" v="724" actId="207"/>
      <pc:docMkLst>
        <pc:docMk/>
      </pc:docMkLst>
      <pc:sldChg chg="modSp mod">
        <pc:chgData name="zhang lei/0897280/張　磊" userId="da02d54a-4a7c-4aa9-8f53-f33a19c6b65f" providerId="ADAL" clId="{1AAB3108-9881-428E-AC54-A8A160C47117}" dt="2025-09-18T05:22:35.985" v="12" actId="20577"/>
        <pc:sldMkLst>
          <pc:docMk/>
          <pc:sldMk cId="0" sldId="16772939"/>
        </pc:sldMkLst>
        <pc:spChg chg="mod">
          <ac:chgData name="zhang lei/0897280/張　磊" userId="da02d54a-4a7c-4aa9-8f53-f33a19c6b65f" providerId="ADAL" clId="{1AAB3108-9881-428E-AC54-A8A160C47117}" dt="2025-09-18T05:22:35.985" v="12" actId="20577"/>
          <ac:spMkLst>
            <pc:docMk/>
            <pc:sldMk cId="0" sldId="16772939"/>
            <ac:spMk id="5" creationId="{00000000-0000-0000-0000-000000000000}"/>
          </ac:spMkLst>
        </pc:spChg>
      </pc:sldChg>
      <pc:sldChg chg="modSp mod">
        <pc:chgData name="zhang lei/0897280/張　磊" userId="da02d54a-4a7c-4aa9-8f53-f33a19c6b65f" providerId="ADAL" clId="{1AAB3108-9881-428E-AC54-A8A160C47117}" dt="2025-09-18T13:58:56.242" v="724" actId="207"/>
        <pc:sldMkLst>
          <pc:docMk/>
          <pc:sldMk cId="0" sldId="16772962"/>
        </pc:sldMkLst>
        <pc:spChg chg="mod">
          <ac:chgData name="zhang lei/0897280/張　磊" userId="da02d54a-4a7c-4aa9-8f53-f33a19c6b65f" providerId="ADAL" clId="{1AAB3108-9881-428E-AC54-A8A160C47117}" dt="2025-09-18T13:58:56.242" v="724" actId="207"/>
          <ac:spMkLst>
            <pc:docMk/>
            <pc:sldMk cId="0" sldId="16772962"/>
            <ac:spMk id="5" creationId="{5F2B4342-4843-AA7D-BBBC-EEDC3E1CB57B}"/>
          </ac:spMkLst>
        </pc:spChg>
        <pc:graphicFrameChg chg="mod modGraphic">
          <ac:chgData name="zhang lei/0897280/張　磊" userId="da02d54a-4a7c-4aa9-8f53-f33a19c6b65f" providerId="ADAL" clId="{1AAB3108-9881-428E-AC54-A8A160C47117}" dt="2025-09-18T13:58:01.825" v="712" actId="20577"/>
          <ac:graphicFrameMkLst>
            <pc:docMk/>
            <pc:sldMk cId="0" sldId="16772962"/>
            <ac:graphicFrameMk id="8" creationId="{EA5FED8C-15C3-BBF2-E85B-99DBE2ED9970}"/>
          </ac:graphicFrameMkLst>
        </pc:graphicFrameChg>
      </pc:sldChg>
      <pc:sldChg chg="delSp modSp mod">
        <pc:chgData name="zhang lei/0897280/張　磊" userId="da02d54a-4a7c-4aa9-8f53-f33a19c6b65f" providerId="ADAL" clId="{1AAB3108-9881-428E-AC54-A8A160C47117}" dt="2025-09-18T13:20:08.921" v="400" actId="478"/>
        <pc:sldMkLst>
          <pc:docMk/>
          <pc:sldMk cId="490570015" sldId="16776353"/>
        </pc:sldMkLst>
        <pc:spChg chg="mod">
          <ac:chgData name="zhang lei/0897280/張　磊" userId="da02d54a-4a7c-4aa9-8f53-f33a19c6b65f" providerId="ADAL" clId="{1AAB3108-9881-428E-AC54-A8A160C47117}" dt="2025-09-18T13:19:40.002" v="399" actId="6549"/>
          <ac:spMkLst>
            <pc:docMk/>
            <pc:sldMk cId="490570015" sldId="16776353"/>
            <ac:spMk id="2" creationId="{1E0A3B2A-7E2F-F016-3731-A5F75381D9F3}"/>
          </ac:spMkLst>
        </pc:spChg>
        <pc:spChg chg="del">
          <ac:chgData name="zhang lei/0897280/張　磊" userId="da02d54a-4a7c-4aa9-8f53-f33a19c6b65f" providerId="ADAL" clId="{1AAB3108-9881-428E-AC54-A8A160C47117}" dt="2025-09-18T13:20:08.921" v="400" actId="478"/>
          <ac:spMkLst>
            <pc:docMk/>
            <pc:sldMk cId="490570015" sldId="16776353"/>
            <ac:spMk id="3" creationId="{57EFF51B-B165-8973-04EF-F6D6F76C8E95}"/>
          </ac:spMkLst>
        </pc:spChg>
      </pc:sldChg>
      <pc:sldChg chg="delSp mod">
        <pc:chgData name="zhang lei/0897280/張　磊" userId="da02d54a-4a7c-4aa9-8f53-f33a19c6b65f" providerId="ADAL" clId="{1AAB3108-9881-428E-AC54-A8A160C47117}" dt="2025-09-18T13:20:12.367" v="401" actId="478"/>
        <pc:sldMkLst>
          <pc:docMk/>
          <pc:sldMk cId="670289832" sldId="16776354"/>
        </pc:sldMkLst>
        <pc:spChg chg="del">
          <ac:chgData name="zhang lei/0897280/張　磊" userId="da02d54a-4a7c-4aa9-8f53-f33a19c6b65f" providerId="ADAL" clId="{1AAB3108-9881-428E-AC54-A8A160C47117}" dt="2025-09-18T13:20:12.367" v="401" actId="478"/>
          <ac:spMkLst>
            <pc:docMk/>
            <pc:sldMk cId="670289832" sldId="16776354"/>
            <ac:spMk id="3" creationId="{7631236C-2F20-0ED4-8559-6FCBCD4FF640}"/>
          </ac:spMkLst>
        </pc:spChg>
      </pc:sldChg>
      <pc:sldChg chg="delSp mod">
        <pc:chgData name="zhang lei/0897280/張　磊" userId="da02d54a-4a7c-4aa9-8f53-f33a19c6b65f" providerId="ADAL" clId="{1AAB3108-9881-428E-AC54-A8A160C47117}" dt="2025-09-18T13:20:15.738" v="402" actId="478"/>
        <pc:sldMkLst>
          <pc:docMk/>
          <pc:sldMk cId="3766533062" sldId="16776355"/>
        </pc:sldMkLst>
        <pc:spChg chg="del">
          <ac:chgData name="zhang lei/0897280/張　磊" userId="da02d54a-4a7c-4aa9-8f53-f33a19c6b65f" providerId="ADAL" clId="{1AAB3108-9881-428E-AC54-A8A160C47117}" dt="2025-09-18T13:20:15.738" v="402" actId="478"/>
          <ac:spMkLst>
            <pc:docMk/>
            <pc:sldMk cId="3766533062" sldId="16776355"/>
            <ac:spMk id="3" creationId="{91479D9C-11AA-081A-7A98-032B1F1E7D68}"/>
          </ac:spMkLst>
        </pc:spChg>
      </pc:sldChg>
      <pc:sldChg chg="delSp mod">
        <pc:chgData name="zhang lei/0897280/張　磊" userId="da02d54a-4a7c-4aa9-8f53-f33a19c6b65f" providerId="ADAL" clId="{1AAB3108-9881-428E-AC54-A8A160C47117}" dt="2025-09-18T13:20:38.072" v="403" actId="478"/>
        <pc:sldMkLst>
          <pc:docMk/>
          <pc:sldMk cId="2578704490" sldId="16776356"/>
        </pc:sldMkLst>
        <pc:spChg chg="del">
          <ac:chgData name="zhang lei/0897280/張　磊" userId="da02d54a-4a7c-4aa9-8f53-f33a19c6b65f" providerId="ADAL" clId="{1AAB3108-9881-428E-AC54-A8A160C47117}" dt="2025-09-18T13:20:38.072" v="403" actId="478"/>
          <ac:spMkLst>
            <pc:docMk/>
            <pc:sldMk cId="2578704490" sldId="16776356"/>
            <ac:spMk id="3" creationId="{B617B8EE-3C4C-D766-4A28-7FB6BD2D32DD}"/>
          </ac:spMkLst>
        </pc:spChg>
      </pc:sldChg>
      <pc:sldChg chg="addSp delSp modSp del mod">
        <pc:chgData name="zhang lei/0897280/張　磊" userId="da02d54a-4a7c-4aa9-8f53-f33a19c6b65f" providerId="ADAL" clId="{1AAB3108-9881-428E-AC54-A8A160C47117}" dt="2025-09-18T13:44:32.654" v="460" actId="47"/>
        <pc:sldMkLst>
          <pc:docMk/>
          <pc:sldMk cId="1363248825" sldId="16776359"/>
        </pc:sldMkLst>
        <pc:spChg chg="mod">
          <ac:chgData name="zhang lei/0897280/張　磊" userId="da02d54a-4a7c-4aa9-8f53-f33a19c6b65f" providerId="ADAL" clId="{1AAB3108-9881-428E-AC54-A8A160C47117}" dt="2025-09-18T05:42:47.095" v="42" actId="1076"/>
          <ac:spMkLst>
            <pc:docMk/>
            <pc:sldMk cId="1363248825" sldId="16776359"/>
            <ac:spMk id="2" creationId="{B6B9867A-62C0-BEA9-3502-CE7ABBD69C4C}"/>
          </ac:spMkLst>
        </pc:spChg>
        <pc:spChg chg="mod">
          <ac:chgData name="zhang lei/0897280/張　磊" userId="da02d54a-4a7c-4aa9-8f53-f33a19c6b65f" providerId="ADAL" clId="{1AAB3108-9881-428E-AC54-A8A160C47117}" dt="2025-09-18T05:45:25.247" v="60" actId="1076"/>
          <ac:spMkLst>
            <pc:docMk/>
            <pc:sldMk cId="1363248825" sldId="16776359"/>
            <ac:spMk id="4" creationId="{C5058F42-8AFD-4182-1357-8602C1BBB01F}"/>
          </ac:spMkLst>
        </pc:spChg>
        <pc:spChg chg="mod">
          <ac:chgData name="zhang lei/0897280/張　磊" userId="da02d54a-4a7c-4aa9-8f53-f33a19c6b65f" providerId="ADAL" clId="{1AAB3108-9881-428E-AC54-A8A160C47117}" dt="2025-09-18T05:41:14.828" v="26" actId="1076"/>
          <ac:spMkLst>
            <pc:docMk/>
            <pc:sldMk cId="1363248825" sldId="16776359"/>
            <ac:spMk id="9" creationId="{16F23AE7-E6A9-D16A-0F93-35862BD2378D}"/>
          </ac:spMkLst>
        </pc:spChg>
        <pc:spChg chg="add mod">
          <ac:chgData name="zhang lei/0897280/張　磊" userId="da02d54a-4a7c-4aa9-8f53-f33a19c6b65f" providerId="ADAL" clId="{1AAB3108-9881-428E-AC54-A8A160C47117}" dt="2025-09-18T05:42:54.872" v="58"/>
          <ac:spMkLst>
            <pc:docMk/>
            <pc:sldMk cId="1363248825" sldId="16776359"/>
            <ac:spMk id="13" creationId="{FC011250-1A6B-467E-FBD1-9101488E2647}"/>
          </ac:spMkLst>
        </pc:spChg>
        <pc:spChg chg="add mod">
          <ac:chgData name="zhang lei/0897280/張　磊" userId="da02d54a-4a7c-4aa9-8f53-f33a19c6b65f" providerId="ADAL" clId="{1AAB3108-9881-428E-AC54-A8A160C47117}" dt="2025-09-18T05:56:15.031" v="106" actId="1076"/>
          <ac:spMkLst>
            <pc:docMk/>
            <pc:sldMk cId="1363248825" sldId="16776359"/>
            <ac:spMk id="18" creationId="{3BD1E701-6E02-6916-CFB0-C265881F5A76}"/>
          </ac:spMkLst>
        </pc:spChg>
        <pc:spChg chg="add mod">
          <ac:chgData name="zhang lei/0897280/張　磊" userId="da02d54a-4a7c-4aa9-8f53-f33a19c6b65f" providerId="ADAL" clId="{1AAB3108-9881-428E-AC54-A8A160C47117}" dt="2025-09-18T06:09:13.682" v="148"/>
          <ac:spMkLst>
            <pc:docMk/>
            <pc:sldMk cId="1363248825" sldId="16776359"/>
            <ac:spMk id="24" creationId="{57A1C24C-4317-D323-6D03-BE0C2F0CF743}"/>
          </ac:spMkLst>
        </pc:spChg>
        <pc:spChg chg="add mod">
          <ac:chgData name="zhang lei/0897280/張　磊" userId="da02d54a-4a7c-4aa9-8f53-f33a19c6b65f" providerId="ADAL" clId="{1AAB3108-9881-428E-AC54-A8A160C47117}" dt="2025-09-18T06:09:27.968" v="150" actId="1076"/>
          <ac:spMkLst>
            <pc:docMk/>
            <pc:sldMk cId="1363248825" sldId="16776359"/>
            <ac:spMk id="25" creationId="{B470982F-B661-0746-3E94-8A8B330D7CE3}"/>
          </ac:spMkLst>
        </pc:spChg>
        <pc:graphicFrameChg chg="add mod">
          <ac:chgData name="zhang lei/0897280/張　磊" userId="da02d54a-4a7c-4aa9-8f53-f33a19c6b65f" providerId="ADAL" clId="{1AAB3108-9881-428E-AC54-A8A160C47117}" dt="2025-09-18T05:40:53.587" v="18"/>
          <ac:graphicFrameMkLst>
            <pc:docMk/>
            <pc:sldMk cId="1363248825" sldId="16776359"/>
            <ac:graphicFrameMk id="3" creationId="{BC398D31-BA34-FB93-ADE4-A546EEC0E64D}"/>
          </ac:graphicFrameMkLst>
        </pc:graphicFrameChg>
        <pc:graphicFrameChg chg="add del mod modGraphic">
          <ac:chgData name="zhang lei/0897280/張　磊" userId="da02d54a-4a7c-4aa9-8f53-f33a19c6b65f" providerId="ADAL" clId="{1AAB3108-9881-428E-AC54-A8A160C47117}" dt="2025-09-18T05:41:40.391" v="28" actId="478"/>
          <ac:graphicFrameMkLst>
            <pc:docMk/>
            <pc:sldMk cId="1363248825" sldId="16776359"/>
            <ac:graphicFrameMk id="5" creationId="{5BF77998-F346-D5A6-6620-570ACBA2B13F}"/>
          </ac:graphicFrameMkLst>
        </pc:graphicFrameChg>
        <pc:graphicFrameChg chg="del">
          <ac:chgData name="zhang lei/0897280/張　磊" userId="da02d54a-4a7c-4aa9-8f53-f33a19c6b65f" providerId="ADAL" clId="{1AAB3108-9881-428E-AC54-A8A160C47117}" dt="2025-09-18T05:40:52.071" v="17" actId="478"/>
          <ac:graphicFrameMkLst>
            <pc:docMk/>
            <pc:sldMk cId="1363248825" sldId="16776359"/>
            <ac:graphicFrameMk id="6" creationId="{97CF48F6-2B44-FA45-9017-8712DBF52F9F}"/>
          </ac:graphicFrameMkLst>
        </pc:graphicFrameChg>
        <pc:graphicFrameChg chg="add mod">
          <ac:chgData name="zhang lei/0897280/張　磊" userId="da02d54a-4a7c-4aa9-8f53-f33a19c6b65f" providerId="ADAL" clId="{1AAB3108-9881-428E-AC54-A8A160C47117}" dt="2025-09-18T05:41:41.368" v="29"/>
          <ac:graphicFrameMkLst>
            <pc:docMk/>
            <pc:sldMk cId="1363248825" sldId="16776359"/>
            <ac:graphicFrameMk id="7" creationId="{AD34BA58-DB37-0B1F-9D9A-309191DA180F}"/>
          </ac:graphicFrameMkLst>
        </pc:graphicFrameChg>
        <pc:graphicFrameChg chg="add del mod">
          <ac:chgData name="zhang lei/0897280/張　磊" userId="da02d54a-4a7c-4aa9-8f53-f33a19c6b65f" providerId="ADAL" clId="{1AAB3108-9881-428E-AC54-A8A160C47117}" dt="2025-09-18T05:42:15.296" v="32" actId="478"/>
          <ac:graphicFrameMkLst>
            <pc:docMk/>
            <pc:sldMk cId="1363248825" sldId="16776359"/>
            <ac:graphicFrameMk id="8" creationId="{9926EC64-A4BC-25F3-B676-48558163404F}"/>
          </ac:graphicFrameMkLst>
        </pc:graphicFrameChg>
        <pc:graphicFrameChg chg="del mod">
          <ac:chgData name="zhang lei/0897280/張　磊" userId="da02d54a-4a7c-4aa9-8f53-f33a19c6b65f" providerId="ADAL" clId="{1AAB3108-9881-428E-AC54-A8A160C47117}" dt="2025-09-18T05:45:28.419" v="61" actId="478"/>
          <ac:graphicFrameMkLst>
            <pc:docMk/>
            <pc:sldMk cId="1363248825" sldId="16776359"/>
            <ac:graphicFrameMk id="10" creationId="{B8830024-49FD-84AB-228E-FBAE1232EF4F}"/>
          </ac:graphicFrameMkLst>
        </pc:graphicFrameChg>
        <pc:graphicFrameChg chg="add mod">
          <ac:chgData name="zhang lei/0897280/張　磊" userId="da02d54a-4a7c-4aa9-8f53-f33a19c6b65f" providerId="ADAL" clId="{1AAB3108-9881-428E-AC54-A8A160C47117}" dt="2025-09-18T05:42:17.081" v="33"/>
          <ac:graphicFrameMkLst>
            <pc:docMk/>
            <pc:sldMk cId="1363248825" sldId="16776359"/>
            <ac:graphicFrameMk id="11" creationId="{F19D4691-CC40-E63E-F459-09CB1594FEB2}"/>
          </ac:graphicFrameMkLst>
        </pc:graphicFrameChg>
        <pc:graphicFrameChg chg="add del mod modGraphic">
          <ac:chgData name="zhang lei/0897280/張　磊" userId="da02d54a-4a7c-4aa9-8f53-f33a19c6b65f" providerId="ADAL" clId="{1AAB3108-9881-428E-AC54-A8A160C47117}" dt="2025-09-18T05:55:20.409" v="95" actId="478"/>
          <ac:graphicFrameMkLst>
            <pc:docMk/>
            <pc:sldMk cId="1363248825" sldId="16776359"/>
            <ac:graphicFrameMk id="12" creationId="{CA883945-F808-3F6A-03EC-360C8D3A7602}"/>
          </ac:graphicFrameMkLst>
        </pc:graphicFrameChg>
        <pc:graphicFrameChg chg="add del mod">
          <ac:chgData name="zhang lei/0897280/張　磊" userId="da02d54a-4a7c-4aa9-8f53-f33a19c6b65f" providerId="ADAL" clId="{1AAB3108-9881-428E-AC54-A8A160C47117}" dt="2025-09-18T05:47:09.250" v="63" actId="478"/>
          <ac:graphicFrameMkLst>
            <pc:docMk/>
            <pc:sldMk cId="1363248825" sldId="16776359"/>
            <ac:graphicFrameMk id="14" creationId="{3F84E19F-9402-F53E-25BE-E7DA2E2C18E4}"/>
          </ac:graphicFrameMkLst>
        </pc:graphicFrameChg>
        <pc:graphicFrameChg chg="add mod">
          <ac:chgData name="zhang lei/0897280/張　磊" userId="da02d54a-4a7c-4aa9-8f53-f33a19c6b65f" providerId="ADAL" clId="{1AAB3108-9881-428E-AC54-A8A160C47117}" dt="2025-09-18T05:47:14.528" v="66" actId="1076"/>
          <ac:graphicFrameMkLst>
            <pc:docMk/>
            <pc:sldMk cId="1363248825" sldId="16776359"/>
            <ac:graphicFrameMk id="15" creationId="{727B4619-CC18-EC8B-27F0-198EC0084543}"/>
          </ac:graphicFrameMkLst>
        </pc:graphicFrameChg>
        <pc:graphicFrameChg chg="add mod">
          <ac:chgData name="zhang lei/0897280/張　磊" userId="da02d54a-4a7c-4aa9-8f53-f33a19c6b65f" providerId="ADAL" clId="{1AAB3108-9881-428E-AC54-A8A160C47117}" dt="2025-09-18T05:47:15.794" v="67"/>
          <ac:graphicFrameMkLst>
            <pc:docMk/>
            <pc:sldMk cId="1363248825" sldId="16776359"/>
            <ac:graphicFrameMk id="16" creationId="{BE89AC76-495E-938F-8B49-28A84165E1F1}"/>
          </ac:graphicFrameMkLst>
        </pc:graphicFrameChg>
        <pc:graphicFrameChg chg="add mod modGraphic">
          <ac:chgData name="zhang lei/0897280/張　磊" userId="da02d54a-4a7c-4aa9-8f53-f33a19c6b65f" providerId="ADAL" clId="{1AAB3108-9881-428E-AC54-A8A160C47117}" dt="2025-09-18T05:56:10.515" v="104" actId="255"/>
          <ac:graphicFrameMkLst>
            <pc:docMk/>
            <pc:sldMk cId="1363248825" sldId="16776359"/>
            <ac:graphicFrameMk id="17" creationId="{BF817830-24F0-6F66-6161-A058AF789B31}"/>
          </ac:graphicFrameMkLst>
        </pc:graphicFrameChg>
        <pc:graphicFrameChg chg="add mod">
          <ac:chgData name="zhang lei/0897280/張　磊" userId="da02d54a-4a7c-4aa9-8f53-f33a19c6b65f" providerId="ADAL" clId="{1AAB3108-9881-428E-AC54-A8A160C47117}" dt="2025-09-18T05:55:21.733" v="96"/>
          <ac:graphicFrameMkLst>
            <pc:docMk/>
            <pc:sldMk cId="1363248825" sldId="16776359"/>
            <ac:graphicFrameMk id="19" creationId="{45F37A75-2A01-0C59-57EF-5308941CD83B}"/>
          </ac:graphicFrameMkLst>
        </pc:graphicFrameChg>
        <pc:graphicFrameChg chg="add mod modGraphic">
          <ac:chgData name="zhang lei/0897280/張　磊" userId="da02d54a-4a7c-4aa9-8f53-f33a19c6b65f" providerId="ADAL" clId="{1AAB3108-9881-428E-AC54-A8A160C47117}" dt="2025-09-18T05:56:07.183" v="103" actId="255"/>
          <ac:graphicFrameMkLst>
            <pc:docMk/>
            <pc:sldMk cId="1363248825" sldId="16776359"/>
            <ac:graphicFrameMk id="20" creationId="{96D562C3-A786-E870-61D8-369E792AF00A}"/>
          </ac:graphicFrameMkLst>
        </pc:graphicFrameChg>
        <pc:graphicFrameChg chg="add mod">
          <ac:chgData name="zhang lei/0897280/張　磊" userId="da02d54a-4a7c-4aa9-8f53-f33a19c6b65f" providerId="ADAL" clId="{1AAB3108-9881-428E-AC54-A8A160C47117}" dt="2025-09-18T06:07:58.744" v="107"/>
          <ac:graphicFrameMkLst>
            <pc:docMk/>
            <pc:sldMk cId="1363248825" sldId="16776359"/>
            <ac:graphicFrameMk id="21" creationId="{EEE32097-24D8-C9BC-E2D7-1DC6BC212A4A}"/>
          </ac:graphicFrameMkLst>
        </pc:graphicFrameChg>
        <pc:graphicFrameChg chg="add mod">
          <ac:chgData name="zhang lei/0897280/張　磊" userId="da02d54a-4a7c-4aa9-8f53-f33a19c6b65f" providerId="ADAL" clId="{1AAB3108-9881-428E-AC54-A8A160C47117}" dt="2025-09-18T06:08:29.196" v="108"/>
          <ac:graphicFrameMkLst>
            <pc:docMk/>
            <pc:sldMk cId="1363248825" sldId="16776359"/>
            <ac:graphicFrameMk id="22" creationId="{8A09421D-333A-2767-4BD5-FFEA5551D7A0}"/>
          </ac:graphicFrameMkLst>
        </pc:graphicFrameChg>
        <pc:graphicFrameChg chg="add mod modGraphic">
          <ac:chgData name="zhang lei/0897280/張　磊" userId="da02d54a-4a7c-4aa9-8f53-f33a19c6b65f" providerId="ADAL" clId="{1AAB3108-9881-428E-AC54-A8A160C47117}" dt="2025-09-18T06:09:03.575" v="114" actId="1076"/>
          <ac:graphicFrameMkLst>
            <pc:docMk/>
            <pc:sldMk cId="1363248825" sldId="16776359"/>
            <ac:graphicFrameMk id="23" creationId="{3306E5EF-AE46-5DBC-E850-DDED2E4D8E2B}"/>
          </ac:graphicFrameMkLst>
        </pc:graphicFrameChg>
      </pc:sldChg>
      <pc:sldChg chg="del">
        <pc:chgData name="zhang lei/0897280/張　磊" userId="da02d54a-4a7c-4aa9-8f53-f33a19c6b65f" providerId="ADAL" clId="{1AAB3108-9881-428E-AC54-A8A160C47117}" dt="2025-09-18T06:09:34.130" v="151" actId="47"/>
        <pc:sldMkLst>
          <pc:docMk/>
          <pc:sldMk cId="38579905" sldId="16776361"/>
        </pc:sldMkLst>
      </pc:sldChg>
      <pc:sldChg chg="addSp modSp mod">
        <pc:chgData name="zhang lei/0897280/張　磊" userId="da02d54a-4a7c-4aa9-8f53-f33a19c6b65f" providerId="ADAL" clId="{1AAB3108-9881-428E-AC54-A8A160C47117}" dt="2025-09-18T13:14:41.786" v="349" actId="14100"/>
        <pc:sldMkLst>
          <pc:docMk/>
          <pc:sldMk cId="1737784919" sldId="16776364"/>
        </pc:sldMkLst>
        <pc:spChg chg="add mod">
          <ac:chgData name="zhang lei/0897280/張　磊" userId="da02d54a-4a7c-4aa9-8f53-f33a19c6b65f" providerId="ADAL" clId="{1AAB3108-9881-428E-AC54-A8A160C47117}" dt="2025-09-18T13:14:41.786" v="349" actId="14100"/>
          <ac:spMkLst>
            <pc:docMk/>
            <pc:sldMk cId="1737784919" sldId="16776364"/>
            <ac:spMk id="3" creationId="{266040C3-99F6-688E-F0C0-9A7AB40BB3E6}"/>
          </ac:spMkLst>
        </pc:spChg>
      </pc:sldChg>
    </pc:docChg>
  </pc:docChgLst>
  <pc:docChgLst>
    <pc:chgData name="he zhendong/0494938/何　振東" userId="S::0494938@mchcgr.com::022da341-ef73-48fb-bc20-f47322bbf998" providerId="AD" clId="Web-{5C017211-4FD9-4E05-B20F-919C8812E71E}"/>
    <pc:docChg chg="modSld">
      <pc:chgData name="he zhendong/0494938/何　振東" userId="S::0494938@mchcgr.com::022da341-ef73-48fb-bc20-f47322bbf998" providerId="AD" clId="Web-{5C017211-4FD9-4E05-B20F-919C8812E71E}" dt="2025-09-18T09:13:58.291" v="17" actId="20577"/>
      <pc:docMkLst>
        <pc:docMk/>
      </pc:docMkLst>
      <pc:sldChg chg="modSp">
        <pc:chgData name="he zhendong/0494938/何　振東" userId="S::0494938@mchcgr.com::022da341-ef73-48fb-bc20-f47322bbf998" providerId="AD" clId="Web-{5C017211-4FD9-4E05-B20F-919C8812E71E}" dt="2025-09-18T09:13:58.291" v="17" actId="20577"/>
        <pc:sldMkLst>
          <pc:docMk/>
          <pc:sldMk cId="0" sldId="16772972"/>
        </pc:sldMkLst>
        <pc:spChg chg="mod">
          <ac:chgData name="he zhendong/0494938/何　振東" userId="S::0494938@mchcgr.com::022da341-ef73-48fb-bc20-f47322bbf998" providerId="AD" clId="Web-{5C017211-4FD9-4E05-B20F-919C8812E71E}" dt="2025-09-18T09:13:58.291" v="17" actId="20577"/>
          <ac:spMkLst>
            <pc:docMk/>
            <pc:sldMk cId="0" sldId="16772972"/>
            <ac:spMk id="55" creationId="{00000000-0000-0000-0000-000000000000}"/>
          </ac:spMkLst>
        </pc:spChg>
      </pc:sldChg>
    </pc:docChg>
  </pc:docChgLst>
  <pc:docChgLst>
    <pc:chgData name="higashiya naoki/0897279/東谷　直樹" userId="ab4885b7-8773-4471-b98b-f744550e344e" providerId="ADAL" clId="{76E4468A-B54F-4416-9B82-E603C92EB1A3}"/>
    <pc:docChg chg="undo custSel modSld">
      <pc:chgData name="higashiya naoki/0897279/東谷　直樹" userId="ab4885b7-8773-4471-b98b-f744550e344e" providerId="ADAL" clId="{76E4468A-B54F-4416-9B82-E603C92EB1A3}" dt="2025-09-18T10:52:08.355" v="161"/>
      <pc:docMkLst>
        <pc:docMk/>
      </pc:docMkLst>
      <pc:sldChg chg="modSp">
        <pc:chgData name="higashiya naoki/0897279/東谷　直樹" userId="ab4885b7-8773-4471-b98b-f744550e344e" providerId="ADAL" clId="{76E4468A-B54F-4416-9B82-E603C92EB1A3}" dt="2025-09-18T05:24:05.920" v="14"/>
        <pc:sldMkLst>
          <pc:docMk/>
          <pc:sldMk cId="0" sldId="16772937"/>
        </pc:sldMkLst>
        <pc:spChg chg="mod">
          <ac:chgData name="higashiya naoki/0897279/東谷　直樹" userId="ab4885b7-8773-4471-b98b-f744550e344e" providerId="ADAL" clId="{76E4468A-B54F-4416-9B82-E603C92EB1A3}" dt="2025-09-18T05:24:05.920" v="14"/>
          <ac:spMkLst>
            <pc:docMk/>
            <pc:sldMk cId="0" sldId="16772937"/>
            <ac:spMk id="5" creationId="{00000000-0000-0000-0000-000000000000}"/>
          </ac:spMkLst>
        </pc:spChg>
      </pc:sldChg>
      <pc:sldChg chg="modSp mod">
        <pc:chgData name="higashiya naoki/0897279/東谷　直樹" userId="ab4885b7-8773-4471-b98b-f744550e344e" providerId="ADAL" clId="{76E4468A-B54F-4416-9B82-E603C92EB1A3}" dt="2025-09-18T10:51:11.834" v="158"/>
        <pc:sldMkLst>
          <pc:docMk/>
          <pc:sldMk cId="0" sldId="16772939"/>
        </pc:sldMkLst>
        <pc:spChg chg="mod">
          <ac:chgData name="higashiya naoki/0897279/東谷　直樹" userId="ab4885b7-8773-4471-b98b-f744550e344e" providerId="ADAL" clId="{76E4468A-B54F-4416-9B82-E603C92EB1A3}" dt="2025-09-18T10:51:11.834" v="158"/>
          <ac:spMkLst>
            <pc:docMk/>
            <pc:sldMk cId="0" sldId="16772939"/>
            <ac:spMk id="4" creationId="{00000000-0000-0000-0000-000000000000}"/>
          </ac:spMkLst>
        </pc:spChg>
      </pc:sldChg>
      <pc:sldChg chg="modSp mod">
        <pc:chgData name="higashiya naoki/0897279/東谷　直樹" userId="ab4885b7-8773-4471-b98b-f744550e344e" providerId="ADAL" clId="{76E4468A-B54F-4416-9B82-E603C92EB1A3}" dt="2025-09-18T05:17:03.935" v="13" actId="20577"/>
        <pc:sldMkLst>
          <pc:docMk/>
          <pc:sldMk cId="0" sldId="16772940"/>
        </pc:sldMkLst>
        <pc:spChg chg="mod">
          <ac:chgData name="higashiya naoki/0897279/東谷　直樹" userId="ab4885b7-8773-4471-b98b-f744550e344e" providerId="ADAL" clId="{76E4468A-B54F-4416-9B82-E603C92EB1A3}" dt="2025-09-18T05:17:03.935" v="13" actId="20577"/>
          <ac:spMkLst>
            <pc:docMk/>
            <pc:sldMk cId="0" sldId="16772940"/>
            <ac:spMk id="15" creationId="{00000000-0000-0000-0000-000000000000}"/>
          </ac:spMkLst>
        </pc:spChg>
      </pc:sldChg>
      <pc:sldChg chg="modSp mod">
        <pc:chgData name="higashiya naoki/0897279/東谷　直樹" userId="ab4885b7-8773-4471-b98b-f744550e344e" providerId="ADAL" clId="{76E4468A-B54F-4416-9B82-E603C92EB1A3}" dt="2025-09-18T05:25:13.093" v="57" actId="6549"/>
        <pc:sldMkLst>
          <pc:docMk/>
          <pc:sldMk cId="0" sldId="16772945"/>
        </pc:sldMkLst>
        <pc:spChg chg="mod">
          <ac:chgData name="higashiya naoki/0897279/東谷　直樹" userId="ab4885b7-8773-4471-b98b-f744550e344e" providerId="ADAL" clId="{76E4468A-B54F-4416-9B82-E603C92EB1A3}" dt="2025-09-18T05:25:13.093" v="57" actId="6549"/>
          <ac:spMkLst>
            <pc:docMk/>
            <pc:sldMk cId="0" sldId="16772945"/>
            <ac:spMk id="15" creationId="{00000000-0000-0000-0000-000000000000}"/>
          </ac:spMkLst>
        </pc:spChg>
      </pc:sldChg>
      <pc:sldChg chg="modSp mod">
        <pc:chgData name="higashiya naoki/0897279/東谷　直樹" userId="ab4885b7-8773-4471-b98b-f744550e344e" providerId="ADAL" clId="{76E4468A-B54F-4416-9B82-E603C92EB1A3}" dt="2025-09-18T05:30:01.337" v="106" actId="1076"/>
        <pc:sldMkLst>
          <pc:docMk/>
          <pc:sldMk cId="0" sldId="16772946"/>
        </pc:sldMkLst>
        <pc:spChg chg="mod">
          <ac:chgData name="higashiya naoki/0897279/東谷　直樹" userId="ab4885b7-8773-4471-b98b-f744550e344e" providerId="ADAL" clId="{76E4468A-B54F-4416-9B82-E603C92EB1A3}" dt="2025-09-18T05:30:01.337" v="106" actId="1076"/>
          <ac:spMkLst>
            <pc:docMk/>
            <pc:sldMk cId="0" sldId="16772946"/>
            <ac:spMk id="3" creationId="{00000000-0000-0000-0000-000000000000}"/>
          </ac:spMkLst>
        </pc:spChg>
        <pc:spChg chg="mod">
          <ac:chgData name="higashiya naoki/0897279/東谷　直樹" userId="ab4885b7-8773-4471-b98b-f744550e344e" providerId="ADAL" clId="{76E4468A-B54F-4416-9B82-E603C92EB1A3}" dt="2025-09-18T05:29:19.516" v="105" actId="20577"/>
          <ac:spMkLst>
            <pc:docMk/>
            <pc:sldMk cId="0" sldId="16772946"/>
            <ac:spMk id="15" creationId="{00000000-0000-0000-0000-000000000000}"/>
          </ac:spMkLst>
        </pc:spChg>
      </pc:sldChg>
      <pc:sldChg chg="modSp">
        <pc:chgData name="higashiya naoki/0897279/東谷　直樹" userId="ab4885b7-8773-4471-b98b-f744550e344e" providerId="ADAL" clId="{76E4468A-B54F-4416-9B82-E603C92EB1A3}" dt="2025-09-18T05:24:05.920" v="14"/>
        <pc:sldMkLst>
          <pc:docMk/>
          <pc:sldMk cId="2515339138" sldId="16772947"/>
        </pc:sldMkLst>
        <pc:spChg chg="mod">
          <ac:chgData name="higashiya naoki/0897279/東谷　直樹" userId="ab4885b7-8773-4471-b98b-f744550e344e" providerId="ADAL" clId="{76E4468A-B54F-4416-9B82-E603C92EB1A3}" dt="2025-09-18T05:24:05.920" v="14"/>
          <ac:spMkLst>
            <pc:docMk/>
            <pc:sldMk cId="2515339138" sldId="16772947"/>
            <ac:spMk id="55" creationId="{00000000-0000-0000-0000-000000000000}"/>
          </ac:spMkLst>
        </pc:spChg>
      </pc:sldChg>
      <pc:sldChg chg="modSp mod">
        <pc:chgData name="higashiya naoki/0897279/東谷　直樹" userId="ab4885b7-8773-4471-b98b-f744550e344e" providerId="ADAL" clId="{76E4468A-B54F-4416-9B82-E603C92EB1A3}" dt="2025-09-18T05:45:05.975" v="135" actId="6549"/>
        <pc:sldMkLst>
          <pc:docMk/>
          <pc:sldMk cId="0" sldId="16772953"/>
        </pc:sldMkLst>
        <pc:spChg chg="mod">
          <ac:chgData name="higashiya naoki/0897279/東谷　直樹" userId="ab4885b7-8773-4471-b98b-f744550e344e" providerId="ADAL" clId="{76E4468A-B54F-4416-9B82-E603C92EB1A3}" dt="2025-09-18T05:45:05.975" v="135" actId="6549"/>
          <ac:spMkLst>
            <pc:docMk/>
            <pc:sldMk cId="0" sldId="16772953"/>
            <ac:spMk id="15" creationId="{00000000-0000-0000-0000-000000000000}"/>
          </ac:spMkLst>
        </pc:spChg>
      </pc:sldChg>
      <pc:sldChg chg="modSp mod">
        <pc:chgData name="higashiya naoki/0897279/東谷　直樹" userId="ab4885b7-8773-4471-b98b-f744550e344e" providerId="ADAL" clId="{76E4468A-B54F-4416-9B82-E603C92EB1A3}" dt="2025-09-18T05:46:54.227" v="141" actId="6549"/>
        <pc:sldMkLst>
          <pc:docMk/>
          <pc:sldMk cId="0" sldId="16772956"/>
        </pc:sldMkLst>
        <pc:spChg chg="mod">
          <ac:chgData name="higashiya naoki/0897279/東谷　直樹" userId="ab4885b7-8773-4471-b98b-f744550e344e" providerId="ADAL" clId="{76E4468A-B54F-4416-9B82-E603C92EB1A3}" dt="2025-09-18T05:46:54.227" v="141" actId="6549"/>
          <ac:spMkLst>
            <pc:docMk/>
            <pc:sldMk cId="0" sldId="16772956"/>
            <ac:spMk id="15" creationId="{00000000-0000-0000-0000-000000000000}"/>
          </ac:spMkLst>
        </pc:spChg>
      </pc:sldChg>
      <pc:sldChg chg="modSp mod">
        <pc:chgData name="higashiya naoki/0897279/東谷　直樹" userId="ab4885b7-8773-4471-b98b-f744550e344e" providerId="ADAL" clId="{76E4468A-B54F-4416-9B82-E603C92EB1A3}" dt="2025-09-18T05:52:51.598" v="154"/>
        <pc:sldMkLst>
          <pc:docMk/>
          <pc:sldMk cId="0" sldId="16772960"/>
        </pc:sldMkLst>
        <pc:graphicFrameChg chg="mod modGraphic">
          <ac:chgData name="higashiya naoki/0897279/東谷　直樹" userId="ab4885b7-8773-4471-b98b-f744550e344e" providerId="ADAL" clId="{76E4468A-B54F-4416-9B82-E603C92EB1A3}" dt="2025-09-18T05:52:51.598" v="154"/>
          <ac:graphicFrameMkLst>
            <pc:docMk/>
            <pc:sldMk cId="0" sldId="16772960"/>
            <ac:graphicFrameMk id="4" creationId="{9364F8F7-8993-8F9F-93B4-950689A63292}"/>
          </ac:graphicFrameMkLst>
        </pc:graphicFrameChg>
      </pc:sldChg>
      <pc:sldChg chg="modSp">
        <pc:chgData name="higashiya naoki/0897279/東谷　直樹" userId="ab4885b7-8773-4471-b98b-f744550e344e" providerId="ADAL" clId="{76E4468A-B54F-4416-9B82-E603C92EB1A3}" dt="2025-09-18T05:52:51.598" v="154"/>
        <pc:sldMkLst>
          <pc:docMk/>
          <pc:sldMk cId="0" sldId="16772961"/>
        </pc:sldMkLst>
        <pc:spChg chg="mod">
          <ac:chgData name="higashiya naoki/0897279/東谷　直樹" userId="ab4885b7-8773-4471-b98b-f744550e344e" providerId="ADAL" clId="{76E4468A-B54F-4416-9B82-E603C92EB1A3}" dt="2025-09-18T05:52:51.598" v="154"/>
          <ac:spMkLst>
            <pc:docMk/>
            <pc:sldMk cId="0" sldId="16772961"/>
            <ac:spMk id="13" creationId="{20F437F9-F1E3-7A6E-D183-3524B7764422}"/>
          </ac:spMkLst>
        </pc:spChg>
        <pc:spChg chg="mod">
          <ac:chgData name="higashiya naoki/0897279/東谷　直樹" userId="ab4885b7-8773-4471-b98b-f744550e344e" providerId="ADAL" clId="{76E4468A-B54F-4416-9B82-E603C92EB1A3}" dt="2025-09-18T05:24:05.920" v="14"/>
          <ac:spMkLst>
            <pc:docMk/>
            <pc:sldMk cId="0" sldId="16772961"/>
            <ac:spMk id="21" creationId="{0185A894-7F68-5B0F-70C1-8F0154D2E469}"/>
          </ac:spMkLst>
        </pc:spChg>
      </pc:sldChg>
      <pc:sldChg chg="modSp">
        <pc:chgData name="higashiya naoki/0897279/東谷　直樹" userId="ab4885b7-8773-4471-b98b-f744550e344e" providerId="ADAL" clId="{76E4468A-B54F-4416-9B82-E603C92EB1A3}" dt="2025-09-18T05:24:05.920" v="14"/>
        <pc:sldMkLst>
          <pc:docMk/>
          <pc:sldMk cId="0" sldId="16772967"/>
        </pc:sldMkLst>
        <pc:spChg chg="mod">
          <ac:chgData name="higashiya naoki/0897279/東谷　直樹" userId="ab4885b7-8773-4471-b98b-f744550e344e" providerId="ADAL" clId="{76E4468A-B54F-4416-9B82-E603C92EB1A3}" dt="2025-09-18T05:24:05.920" v="14"/>
          <ac:spMkLst>
            <pc:docMk/>
            <pc:sldMk cId="0" sldId="16772967"/>
            <ac:spMk id="15" creationId="{00000000-0000-0000-0000-000000000000}"/>
          </ac:spMkLst>
        </pc:spChg>
      </pc:sldChg>
      <pc:sldChg chg="modSp mod">
        <pc:chgData name="higashiya naoki/0897279/東谷　直樹" userId="ab4885b7-8773-4471-b98b-f744550e344e" providerId="ADAL" clId="{76E4468A-B54F-4416-9B82-E603C92EB1A3}" dt="2025-09-18T10:52:08.355" v="161"/>
        <pc:sldMkLst>
          <pc:docMk/>
          <pc:sldMk cId="0" sldId="16772971"/>
        </pc:sldMkLst>
        <pc:spChg chg="mod">
          <ac:chgData name="higashiya naoki/0897279/東谷　直樹" userId="ab4885b7-8773-4471-b98b-f744550e344e" providerId="ADAL" clId="{76E4468A-B54F-4416-9B82-E603C92EB1A3}" dt="2025-09-18T10:52:08.355" v="161"/>
          <ac:spMkLst>
            <pc:docMk/>
            <pc:sldMk cId="0" sldId="16772971"/>
            <ac:spMk id="15" creationId="{00000000-0000-0000-0000-000000000000}"/>
          </ac:spMkLst>
        </pc:spChg>
      </pc:sldChg>
      <pc:sldChg chg="modSp mod">
        <pc:chgData name="higashiya naoki/0897279/東谷　直樹" userId="ab4885b7-8773-4471-b98b-f744550e344e" providerId="ADAL" clId="{76E4468A-B54F-4416-9B82-E603C92EB1A3}" dt="2025-09-18T05:42:14.474" v="134" actId="6549"/>
        <pc:sldMkLst>
          <pc:docMk/>
          <pc:sldMk cId="0" sldId="16772972"/>
        </pc:sldMkLst>
        <pc:spChg chg="mod">
          <ac:chgData name="higashiya naoki/0897279/東谷　直樹" userId="ab4885b7-8773-4471-b98b-f744550e344e" providerId="ADAL" clId="{76E4468A-B54F-4416-9B82-E603C92EB1A3}" dt="2025-09-18T05:41:52.963" v="133" actId="20577"/>
          <ac:spMkLst>
            <pc:docMk/>
            <pc:sldMk cId="0" sldId="16772972"/>
            <ac:spMk id="37" creationId="{7086AD1C-5573-3AA1-6075-7C3D6A53A5E2}"/>
          </ac:spMkLst>
        </pc:spChg>
        <pc:spChg chg="mod">
          <ac:chgData name="higashiya naoki/0897279/東谷　直樹" userId="ab4885b7-8773-4471-b98b-f744550e344e" providerId="ADAL" clId="{76E4468A-B54F-4416-9B82-E603C92EB1A3}" dt="2025-09-18T05:24:05.920" v="14"/>
          <ac:spMkLst>
            <pc:docMk/>
            <pc:sldMk cId="0" sldId="16772972"/>
            <ac:spMk id="55" creationId="{00000000-0000-0000-0000-000000000000}"/>
          </ac:spMkLst>
        </pc:spChg>
        <pc:spChg chg="mod">
          <ac:chgData name="higashiya naoki/0897279/東谷　直樹" userId="ab4885b7-8773-4471-b98b-f744550e344e" providerId="ADAL" clId="{76E4468A-B54F-4416-9B82-E603C92EB1A3}" dt="2025-09-18T05:42:14.474" v="134" actId="6549"/>
          <ac:spMkLst>
            <pc:docMk/>
            <pc:sldMk cId="0" sldId="16772972"/>
            <ac:spMk id="61" creationId="{895BE663-160F-5FA8-247A-EE062F96F349}"/>
          </ac:spMkLst>
        </pc:spChg>
      </pc:sldChg>
      <pc:sldChg chg="modSp mod">
        <pc:chgData name="higashiya naoki/0897279/東谷　直樹" userId="ab4885b7-8773-4471-b98b-f744550e344e" providerId="ADAL" clId="{76E4468A-B54F-4416-9B82-E603C92EB1A3}" dt="2025-09-18T05:47:59.481" v="150" actId="20577"/>
        <pc:sldMkLst>
          <pc:docMk/>
          <pc:sldMk cId="0" sldId="16776352"/>
        </pc:sldMkLst>
        <pc:spChg chg="mod">
          <ac:chgData name="higashiya naoki/0897279/東谷　直樹" userId="ab4885b7-8773-4471-b98b-f744550e344e" providerId="ADAL" clId="{76E4468A-B54F-4416-9B82-E603C92EB1A3}" dt="2025-09-18T05:47:59.481" v="150" actId="20577"/>
          <ac:spMkLst>
            <pc:docMk/>
            <pc:sldMk cId="0" sldId="16776352"/>
            <ac:spMk id="1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9</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a:t>
            </a:fld>
            <a:endParaRPr kumimoji="1" lang="ja-JP" altLang="en-US"/>
          </a:p>
        </p:txBody>
      </p:sp>
    </p:spTree>
    <p:extLst>
      <p:ext uri="{BB962C8B-B14F-4D97-AF65-F5344CB8AC3E}">
        <p14:creationId xmlns:p14="http://schemas.microsoft.com/office/powerpoint/2010/main" val="1072502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FE80B-DA65-9819-E89B-3EB874C362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CC1B4F-15BC-366C-3953-09260CE6ECC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1D6E36-1AE6-00A0-904D-0AF050AE45F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A7EC5943-97B4-7319-9235-AC91DAFB5D10}"/>
              </a:ext>
            </a:extLst>
          </p:cNvPr>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1505300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462589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947950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3585641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extLst>
      <p:ext uri="{BB962C8B-B14F-4D97-AF65-F5344CB8AC3E}">
        <p14:creationId xmlns:p14="http://schemas.microsoft.com/office/powerpoint/2010/main" val="3282858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extLst>
      <p:ext uri="{BB962C8B-B14F-4D97-AF65-F5344CB8AC3E}">
        <p14:creationId xmlns:p14="http://schemas.microsoft.com/office/powerpoint/2010/main" val="89306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なぜ添付ファイルは</a:t>
            </a:r>
            <a:r>
              <a:rPr kumimoji="1" lang="en-US" altLang="ja-JP" err="1">
                <a:latin typeface="Yu Gothic UI" panose="020B0500000000000000" pitchFamily="50" charset="-128"/>
                <a:ea typeface="Yu Gothic UI" panose="020B0500000000000000" pitchFamily="50" charset="-128"/>
              </a:rPr>
              <a:t>ShraePoint</a:t>
            </a:r>
            <a:r>
              <a:rPr kumimoji="1" lang="ja-JP" altLang="en-US">
                <a:latin typeface="Yu Gothic UI" panose="020B0500000000000000" pitchFamily="50" charset="-128"/>
                <a:ea typeface="Yu Gothic UI" panose="020B0500000000000000" pitchFamily="50" charset="-128"/>
              </a:rPr>
              <a:t>にお薦めなのか：</a:t>
            </a: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１．</a:t>
            </a:r>
            <a:r>
              <a:rPr kumimoji="1" lang="en-US" altLang="ja-JP">
                <a:latin typeface="Yu Gothic UI" panose="020B0500000000000000" pitchFamily="50" charset="-128"/>
                <a:ea typeface="Yu Gothic UI" panose="020B0500000000000000" pitchFamily="50" charset="-128"/>
              </a:rPr>
              <a:t>SPO</a:t>
            </a:r>
            <a:r>
              <a:rPr kumimoji="1" lang="ja-JP" altLang="en-US">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err="1">
                <a:latin typeface="Yu Gothic UI" panose="020B0500000000000000" pitchFamily="50" charset="-128"/>
                <a:ea typeface="Yu Gothic UI" panose="020B0500000000000000" pitchFamily="50" charset="-128"/>
              </a:rPr>
              <a:t>A.GraphAPI</a:t>
            </a:r>
            <a:r>
              <a:rPr kumimoji="1" lang="ja-JP" altLang="en-US">
                <a:latin typeface="Yu Gothic UI" panose="020B0500000000000000" pitchFamily="50" charset="-128"/>
                <a:ea typeface="Yu Gothic UI" panose="020B0500000000000000" pitchFamily="50" charset="-128"/>
              </a:rPr>
              <a:t>経由で必要 </a:t>
            </a:r>
            <a:r>
              <a:rPr kumimoji="1" lang="en-US" altLang="ja-JP">
                <a:latin typeface="Yu Gothic UI" panose="020B0500000000000000" pitchFamily="50" charset="-128"/>
                <a:ea typeface="Yu Gothic UI" panose="020B0500000000000000" pitchFamily="50" charset="-128"/>
              </a:rPr>
              <a:t>B.</a:t>
            </a:r>
            <a:r>
              <a:rPr kumimoji="1" lang="ja-JP" altLang="en-US">
                <a:latin typeface="Yu Gothic UI" panose="020B0500000000000000" pitchFamily="50" charset="-128"/>
                <a:ea typeface="Yu Gothic UI" panose="020B0500000000000000" pitchFamily="50" charset="-128"/>
              </a:rPr>
              <a:t>）</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２．</a:t>
            </a:r>
            <a:r>
              <a:rPr kumimoji="1" lang="en-US" altLang="zh-CN" err="1">
                <a:latin typeface="Yu Gothic UI" panose="020B0500000000000000" pitchFamily="50" charset="-128"/>
                <a:ea typeface="Yu Gothic UI" panose="020B0500000000000000" pitchFamily="50" charset="-128"/>
              </a:rPr>
              <a:t>Sqlserver</a:t>
            </a:r>
            <a:r>
              <a:rPr kumimoji="1" lang="ja-JP" altLang="en-US">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a:latin typeface="Yu Gothic UI" panose="020B0500000000000000" pitchFamily="50" charset="-128"/>
                <a:ea typeface="Yu Gothic UI" panose="020B0500000000000000" pitchFamily="50" charset="-128"/>
              </a:rPr>
              <a:t>t</a:t>
            </a:r>
            <a:r>
              <a:rPr kumimoji="1" lang="ja-JP" altLang="en-US">
                <a:latin typeface="Yu Gothic UI" panose="020B0500000000000000" pitchFamily="50" charset="-128"/>
                <a:ea typeface="Yu Gothic UI" panose="020B0500000000000000" pitchFamily="50" charset="-128"/>
              </a:rPr>
              <a:t>的に検証が必要。</a:t>
            </a:r>
            <a:r>
              <a:rPr kumimoji="1" lang="en-US" altLang="ja-JP">
                <a:latin typeface="Yu Gothic UI" panose="020B0500000000000000" pitchFamily="50" charset="-128"/>
                <a:ea typeface="Yu Gothic UI" panose="020B0500000000000000" pitchFamily="50" charset="-128"/>
              </a:rPr>
              <a:t>POC</a:t>
            </a:r>
            <a:r>
              <a:rPr kumimoji="1" lang="ja-JP" altLang="en-US">
                <a:latin typeface="Yu Gothic UI" panose="020B0500000000000000" pitchFamily="50" charset="-128"/>
                <a:ea typeface="Yu Gothic UI" panose="020B0500000000000000" pitchFamily="50" charset="-128"/>
              </a:rPr>
              <a:t>の作業範囲が広がる、性能などの考慮・評価は複雑</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2344"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5290"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037340" y="1331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a:xfrm>
            <a:off x="2416500" y="329307"/>
            <a:ext cx="4973915" cy="309201"/>
          </a:xfrm>
        </p:spPr>
        <p:txBody>
          <a:bodyPr/>
          <a:lstStyle/>
          <a:p>
            <a:endParaRPr lang="en-US"/>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Date Placeholder 6"/>
          <p:cNvSpPr>
            <a:spLocks noGrp="1"/>
          </p:cNvSpPr>
          <p:nvPr>
            <p:ph type="dt" sz="half" idx="10"/>
          </p:nvPr>
        </p:nvSpPr>
        <p:spPr/>
        <p:txBody>
          <a:bodyPr/>
          <a:lstStyle/>
          <a:p>
            <a:fld id="{48A87A34-81AB-432B-8DAE-1953F412C126}" type="datetimeFigureOut">
              <a:rPr lang="en-US" dirty="0"/>
              <a:t>9/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48A87A34-81AB-432B-8DAE-1953F412C126}" type="datetimeFigureOut">
              <a:rPr lang="en-US" dirty="0"/>
              <a:t>9/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a:xfrm>
            <a:off x="1447382" y="318640"/>
            <a:ext cx="5541004" cy="320931"/>
          </a:xfrm>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8272" y="9151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6.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image" Target="../media/image1.emf"/><Relationship Id="rId2" Type="http://schemas.openxmlformats.org/officeDocument/2006/relationships/slideLayout" Target="../slideLayouts/slideLayout71.xml"/><Relationship Id="rId16" Type="http://schemas.openxmlformats.org/officeDocument/2006/relationships/oleObject" Target="../embeddings/oleObject69.bin"/><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6.jpe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ags" Target="../tags/tag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3"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スライド番号プレースホルダ 8">
            <a:extLst>
              <a:ext uri="{FF2B5EF4-FFF2-40B4-BE49-F238E27FC236}">
                <a16:creationId xmlns:a16="http://schemas.microsoft.com/office/drawing/2014/main" id="{764A59F0-2069-F9E9-40A7-A1BBAD6E4EFB}"/>
              </a:ext>
            </a:extLst>
          </p:cNvPr>
          <p:cNvSpPr>
            <a:spLocks noGrp="1"/>
          </p:cNvSpPr>
          <p:nvPr>
            <p:ph type="sldNum" sz="quarter" idx="4"/>
          </p:nvPr>
        </p:nvSpPr>
        <p:spPr bwMode="gray">
          <a:xfrm>
            <a:off x="480000" y="6588000"/>
            <a:ext cx="363280" cy="169200"/>
          </a:xfrm>
          <a:prstGeom prst="rect">
            <a:avLst/>
          </a:prstGeom>
        </p:spPr>
        <p:txBody>
          <a:bodyPr/>
          <a:lstStyle>
            <a:lvl1pPr>
              <a:defRPr sz="1000"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4" name="フッター プレースホルダ 9">
            <a:extLst>
              <a:ext uri="{FF2B5EF4-FFF2-40B4-BE49-F238E27FC236}">
                <a16:creationId xmlns:a16="http://schemas.microsoft.com/office/drawing/2014/main" id="{2D5E64BD-8D93-ABED-1728-9D31E5A8E063}"/>
              </a:ext>
            </a:extLst>
          </p:cNvPr>
          <p:cNvSpPr>
            <a:spLocks noGrp="1"/>
          </p:cNvSpPr>
          <p:nvPr>
            <p:ph type="ftr" sz="quarter" idx="3"/>
          </p:nvPr>
        </p:nvSpPr>
        <p:spPr bwMode="gray">
          <a:xfrm>
            <a:off x="964480" y="6588000"/>
            <a:ext cx="5184000" cy="169200"/>
          </a:xfrm>
          <a:prstGeom prst="rect">
            <a:avLst/>
          </a:prstGeom>
        </p:spPr>
        <p:txBody>
          <a:bodyPr/>
          <a:lstStyle>
            <a:lvl1pPr>
              <a:defRPr sz="1000" baseline="0">
                <a:solidFill>
                  <a:schemeClr val="tx1"/>
                </a:solidFill>
                <a:latin typeface="+mn-lt"/>
                <a:ea typeface="+mn-ea"/>
                <a:cs typeface="+mn-cs"/>
                <a:sym typeface="+mn-lt"/>
              </a:defRPr>
            </a:lvl1pPr>
          </a:lstStyle>
          <a:p>
            <a:r>
              <a:rPr lang="en-US" altLang="ja-JP" dirty="0"/>
              <a:t>Notes</a:t>
            </a:r>
            <a:r>
              <a:rPr lang="ja-JP" altLang="en-US" dirty="0"/>
              <a:t>アプリ刷新のご提案</a:t>
            </a:r>
            <a:endParaRPr lang="en-GB" alt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3"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5">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9/2025</a:t>
            </a:fld>
            <a:endParaRPr lang="en-US"/>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5715" imgH="5715" progId="TCLayout.ActiveDocument.1">
                  <p:embed/>
                </p:oleObj>
              </mc:Choice>
              <mc:Fallback>
                <p:oleObj name="think-cellスライド" r:id="rId16" imgW="5715" imgH="5715" progId="TCLayout.ActiveDocument.1">
                  <p:embed/>
                  <p:pic>
                    <p:nvPicPr>
                      <p:cNvPr id="9" name="オブジェクト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スライド番号プレースホルダ 8">
            <a:extLst>
              <a:ext uri="{FF2B5EF4-FFF2-40B4-BE49-F238E27FC236}">
                <a16:creationId xmlns:a16="http://schemas.microsoft.com/office/drawing/2014/main" id="{8C885B16-9EFC-FFAE-15EC-36CF30048766}"/>
              </a:ext>
            </a:extLst>
          </p:cNvPr>
          <p:cNvSpPr txBox="1">
            <a:spLocks/>
          </p:cNvSpPr>
          <p:nvPr userDrawn="1"/>
        </p:nvSpPr>
        <p:spPr bwMode="gray">
          <a:xfrm>
            <a:off x="480000" y="6588000"/>
            <a:ext cx="36328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543A0986-838B-4D2A-A95C-8CB1738263FE}" type="slidenum">
              <a:rPr lang="ja-JP" altLang="en-US" smtClean="0"/>
              <a:pPr/>
              <a:t>‹#›</a:t>
            </a:fld>
            <a:endParaRPr lang="ja-JP" altLang="en-US" dirty="0"/>
          </a:p>
        </p:txBody>
      </p:sp>
      <p:sp>
        <p:nvSpPr>
          <p:cNvPr id="12" name="フッター プレースホルダ 9">
            <a:extLst>
              <a:ext uri="{FF2B5EF4-FFF2-40B4-BE49-F238E27FC236}">
                <a16:creationId xmlns:a16="http://schemas.microsoft.com/office/drawing/2014/main" id="{DF920A77-A912-E3F9-5C1A-6B4FFC7124D3}"/>
              </a:ext>
            </a:extLst>
          </p:cNvPr>
          <p:cNvSpPr txBox="1">
            <a:spLocks/>
          </p:cNvSpPr>
          <p:nvPr userDrawn="1"/>
        </p:nvSpPr>
        <p:spPr bwMode="gray">
          <a:xfrm>
            <a:off x="964480" y="6588000"/>
            <a:ext cx="518400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a:t>Notes</a:t>
            </a:r>
            <a:r>
              <a:rPr lang="ja-JP" altLang="en-US"/>
              <a:t>アプリ刷新のご提案</a:t>
            </a:r>
            <a:endParaRPr lang="en-GB" altLang="en-GB" dirty="0"/>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5" r:id="rId12"/>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81.xml"/><Relationship Id="rId6" Type="http://schemas.openxmlformats.org/officeDocument/2006/relationships/image" Target="../media/image33.png"/><Relationship Id="rId5" Type="http://schemas.openxmlformats.org/officeDocument/2006/relationships/image" Target="../media/image26.pn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81.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81.xml"/><Relationship Id="rId5" Type="http://schemas.openxmlformats.org/officeDocument/2006/relationships/image" Target="../media/image23.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3" Type="http://schemas.openxmlformats.org/officeDocument/2006/relationships/hyperlink" Target="mailto:yli@gcsoft-jp.com" TargetMode="External"/><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7.jpe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25.xml"/><Relationship Id="rId16" Type="http://schemas.openxmlformats.org/officeDocument/2006/relationships/image" Target="../media/image29.png"/><Relationship Id="rId1" Type="http://schemas.openxmlformats.org/officeDocument/2006/relationships/slideLayout" Target="../slideLayouts/slideLayout81.xml"/><Relationship Id="rId6" Type="http://schemas.openxmlformats.org/officeDocument/2006/relationships/image" Target="../media/image19.png"/><Relationship Id="rId11" Type="http://schemas.openxmlformats.org/officeDocument/2006/relationships/image" Target="../media/image24.jpe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3.png"/><Relationship Id="rId4" Type="http://schemas.openxmlformats.org/officeDocument/2006/relationships/image" Target="../media/image33.png"/><Relationship Id="rId9" Type="http://schemas.openxmlformats.org/officeDocument/2006/relationships/image" Target="../media/image22.png"/><Relationship Id="rId14" Type="http://schemas.openxmlformats.org/officeDocument/2006/relationships/image" Target="../media/image2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1.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9.xml"/><Relationship Id="rId1" Type="http://schemas.openxmlformats.org/officeDocument/2006/relationships/slideLayout" Target="../slideLayouts/slideLayout81.xml"/><Relationship Id="rId4" Type="http://schemas.openxmlformats.org/officeDocument/2006/relationships/hyperlink" Target="https://office.com/edit?url=%5bfile_ur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zh-CN" sz="5400" dirty="0"/>
            </a:br>
            <a:r>
              <a:rPr lang="ja-JP" altLang="en-US" sz="5400" dirty="0"/>
              <a:t>（製品仕様書管理）</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と見積</a:t>
            </a:r>
            <a:endParaRPr lang="ja-JP" altLang="en-US" sz="5400" dirty="0"/>
          </a:p>
        </p:txBody>
      </p:sp>
      <p:sp>
        <p:nvSpPr>
          <p:cNvPr id="5" name="テキスト プレースホルダー 4"/>
          <p:cNvSpPr>
            <a:spLocks noGrp="1"/>
          </p:cNvSpPr>
          <p:nvPr>
            <p:ph type="subTitle" idx="1"/>
          </p:nvPr>
        </p:nvSpPr>
        <p:spPr/>
        <p:txBody>
          <a:bodyPr/>
          <a:lstStyle/>
          <a:p>
            <a:r>
              <a:rPr lang="ja-JP" altLang="en-US"/>
              <a:t>株式会社　</a:t>
            </a:r>
            <a:r>
              <a:rPr lang="en-US" altLang="ja-JP"/>
              <a:t>GCJ</a:t>
            </a:r>
            <a:endParaRPr lang="ja-JP" altLang="en-US"/>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2515" y="108633"/>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一括ダウンロード機能</a:t>
            </a:r>
            <a:endParaRPr lang="ja-JP" altLang="en-US" dirty="0">
              <a:effectLst/>
            </a:endParaRPr>
          </a:p>
        </p:txBody>
      </p:sp>
      <p:sp>
        <p:nvSpPr>
          <p:cNvPr id="15" name="テキスト ボックス 14"/>
          <p:cNvSpPr txBox="1"/>
          <p:nvPr/>
        </p:nvSpPr>
        <p:spPr>
          <a:xfrm>
            <a:off x="281874" y="938892"/>
            <a:ext cx="6707431" cy="5181491"/>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sz="1600" dirty="0">
                <a:latin typeface="Arial" panose="020B0604020202020204" pitchFamily="34" charset="0"/>
              </a:rPr>
              <a:t>既定案：</a:t>
            </a:r>
            <a:endParaRPr kumimoji="0" lang="en-US" altLang="zh-CN" sz="16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sz="1200" dirty="0">
                <a:latin typeface="Arial" panose="020B0604020202020204" pitchFamily="34" charset="0"/>
              </a:rPr>
              <a:t>PowerApps</a:t>
            </a:r>
            <a:r>
              <a:rPr kumimoji="0" lang="ja-JP" altLang="en-US" sz="1200" dirty="0">
                <a:latin typeface="Arial" panose="020B0604020202020204" pitchFamily="34" charset="0"/>
              </a:rPr>
              <a:t>で</a:t>
            </a:r>
            <a:r>
              <a:rPr kumimoji="0" lang="zh-CN" altLang="zh-CN" sz="1200" dirty="0">
                <a:latin typeface="Arial" panose="020B0604020202020204" pitchFamily="34" charset="0"/>
              </a:rPr>
              <a:t>モバイル/デスクトップ対応のため、PowerAppsのDownload関数を使用。</a:t>
            </a:r>
            <a:endParaRPr kumimoji="0" lang="en-US" altLang="zh-CN"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sz="1200" dirty="0">
                <a:latin typeface="Arial" panose="020B0604020202020204" pitchFamily="34" charset="0"/>
              </a:rPr>
              <a:t>ファイルの</a:t>
            </a:r>
            <a:r>
              <a:rPr kumimoji="0" lang="zh-CN" altLang="zh-CN" sz="1200" dirty="0">
                <a:latin typeface="Arial" panose="020B0604020202020204" pitchFamily="34" charset="0"/>
              </a:rPr>
              <a:t>保存先: ユーザーが指定したディレクトリ（ブラウザダウンロード</a:t>
            </a:r>
            <a:r>
              <a:rPr kumimoji="0" lang="ja-JP" altLang="en-US" sz="1200" dirty="0">
                <a:latin typeface="Arial" panose="020B0604020202020204" pitchFamily="34" charset="0"/>
              </a:rPr>
              <a:t>オプションを毎回確認にし、</a:t>
            </a:r>
            <a:r>
              <a:rPr kumimoji="0" lang="zh-CN" altLang="zh-CN" sz="1200" dirty="0">
                <a:latin typeface="Arial" panose="020B0604020202020204" pitchFamily="34" charset="0"/>
              </a:rPr>
              <a:t>ユーザーが</a:t>
            </a:r>
            <a:r>
              <a:rPr kumimoji="0" lang="ja-JP" altLang="en-US" sz="1200" dirty="0">
                <a:latin typeface="Arial" panose="020B0604020202020204" pitchFamily="34" charset="0"/>
              </a:rPr>
              <a:t>保存先</a:t>
            </a:r>
            <a:r>
              <a:rPr kumimoji="0" lang="zh-CN" altLang="zh-CN" sz="1200"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制限: 最大100ファイル/回、合計サイズ500MB（パフォーマンス考慮）。 </a:t>
            </a:r>
          </a:p>
          <a:p>
            <a:pPr algn="l"/>
            <a:endParaRPr lang="en-US" altLang="ja-JP" sz="1600" dirty="0">
              <a:latin typeface="Yu Gothic UI" panose="020B0500000000000000" pitchFamily="50" charset="-128"/>
              <a:ea typeface="Yu Gothic UI" panose="020B0500000000000000" pitchFamily="50" charset="-128"/>
            </a:endParaRPr>
          </a:p>
          <a:p>
            <a:pPr algn="l"/>
            <a:r>
              <a:rPr lang="ja-JP" altLang="en-US" sz="1600" dirty="0">
                <a:solidFill>
                  <a:srgbClr val="C00000"/>
                </a:solidFill>
                <a:latin typeface="Yu Gothic UI" panose="020B0500000000000000" pitchFamily="50" charset="-128"/>
                <a:ea typeface="Yu Gothic UI" panose="020B0500000000000000" pitchFamily="50" charset="-128"/>
              </a:rPr>
              <a:t>向上案：</a:t>
            </a:r>
            <a:endParaRPr lang="en-US" altLang="ja-JP" sz="1600"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pps </a:t>
            </a:r>
            <a:r>
              <a:rPr lang="ja-JP" altLang="en-US" sz="1200" dirty="0">
                <a:latin typeface="Yu Gothic UI" panose="020B0500000000000000" pitchFamily="50" charset="-128"/>
                <a:ea typeface="Yu Gothic UI" panose="020B0500000000000000" pitchFamily="50" charset="-128"/>
              </a:rPr>
              <a:t>では、</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埋め込むための </a:t>
            </a:r>
            <a:r>
              <a:rPr lang="en-US" altLang="ja-JP" sz="1200" dirty="0">
                <a:latin typeface="Yu Gothic UI" panose="020B0500000000000000" pitchFamily="50" charset="-128"/>
                <a:ea typeface="Yu Gothic UI" panose="020B0500000000000000" pitchFamily="50" charset="-128"/>
              </a:rPr>
              <a:t>WebView </a:t>
            </a:r>
            <a:r>
              <a:rPr lang="ja-JP" altLang="en-US" sz="1200" dirty="0">
                <a:latin typeface="Yu Gothic UI" panose="020B0500000000000000" pitchFamily="50" charset="-128"/>
                <a:ea typeface="Yu Gothic UI" panose="020B0500000000000000" pitchFamily="50" charset="-128"/>
              </a:rPr>
              <a:t>コントロール（または </a:t>
            </a:r>
            <a:r>
              <a:rPr lang="en-US" altLang="ja-JP" sz="1200" dirty="0">
                <a:latin typeface="Yu Gothic UI" panose="020B0500000000000000" pitchFamily="50" charset="-128"/>
                <a:ea typeface="Yu Gothic UI" panose="020B0500000000000000" pitchFamily="50" charset="-128"/>
              </a:rPr>
              <a:t>HTML text </a:t>
            </a:r>
            <a:r>
              <a:rPr lang="ja-JP" altLang="en-US" sz="1200" dirty="0">
                <a:latin typeface="Yu Gothic UI" panose="020B0500000000000000" pitchFamily="50" charset="-128"/>
                <a:ea typeface="Yu Gothic UI" panose="020B0500000000000000" pitchFamily="50" charset="-128"/>
              </a:rPr>
              <a:t>コントロールを介して </a:t>
            </a:r>
            <a:r>
              <a:rPr lang="en-US" altLang="ja-JP" sz="1200" dirty="0">
                <a:latin typeface="Yu Gothic UI" panose="020B0500000000000000" pitchFamily="50" charset="-128"/>
                <a:ea typeface="Yu Gothic UI" panose="020B0500000000000000" pitchFamily="50" charset="-128"/>
              </a:rPr>
              <a:t>HTML </a:t>
            </a:r>
            <a:r>
              <a:rPr lang="ja-JP" altLang="en-US" sz="1200" dirty="0">
                <a:latin typeface="Yu Gothic UI" panose="020B0500000000000000" pitchFamily="50" charset="-128"/>
                <a:ea typeface="Yu Gothic UI" panose="020B0500000000000000" pitchFamily="50" charset="-128"/>
              </a:rPr>
              <a:t>コンテンツを表示する）を使用して、外部の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内で、</a:t>
            </a:r>
            <a:r>
              <a:rPr lang="en-US" altLang="ja-JP" sz="1200" dirty="0">
                <a:latin typeface="Yu Gothic UI" panose="020B0500000000000000" pitchFamily="50" charset="-128"/>
                <a:ea typeface="Yu Gothic UI" panose="020B0500000000000000" pitchFamily="50" charset="-128"/>
              </a:rPr>
              <a:t>JavaScript </a:t>
            </a:r>
            <a:r>
              <a:rPr lang="ja-JP" altLang="en-US" sz="1200" dirty="0">
                <a:latin typeface="Yu Gothic UI" panose="020B0500000000000000" pitchFamily="50" charset="-128"/>
                <a:ea typeface="Yu Gothic UI" panose="020B0500000000000000" pitchFamily="50" charset="-128"/>
              </a:rPr>
              <a:t>を使用して </a:t>
            </a:r>
            <a:r>
              <a:rPr lang="en-US" altLang="ja-JP" sz="1200" dirty="0">
                <a:latin typeface="Yu Gothic UI" panose="020B0500000000000000" pitchFamily="50" charset="-128"/>
                <a:ea typeface="Yu Gothic UI" panose="020B0500000000000000" pitchFamily="50" charset="-128"/>
              </a:rPr>
              <a:t>DOM </a:t>
            </a:r>
            <a:r>
              <a:rPr lang="ja-JP" altLang="en-US" sz="1200" dirty="0">
                <a:latin typeface="Yu Gothic UI" panose="020B0500000000000000" pitchFamily="50" charset="-128"/>
                <a:ea typeface="Yu Gothic UI" panose="020B0500000000000000" pitchFamily="50" charset="-128"/>
              </a:rPr>
              <a:t>操作や </a:t>
            </a:r>
            <a:r>
              <a:rPr lang="en-US" altLang="ja-JP" sz="1200" dirty="0">
                <a:latin typeface="Yu Gothic UI" panose="020B0500000000000000" pitchFamily="50" charset="-128"/>
                <a:ea typeface="Yu Gothic UI" panose="020B0500000000000000" pitchFamily="50" charset="-128"/>
              </a:rPr>
              <a:t>Web API </a:t>
            </a:r>
            <a:r>
              <a:rPr lang="ja-JP" altLang="en-US" sz="1200" dirty="0">
                <a:latin typeface="Yu Gothic UI" panose="020B0500000000000000" pitchFamily="50" charset="-128"/>
                <a:ea typeface="Yu Gothic UI" panose="020B0500000000000000" pitchFamily="50" charset="-128"/>
              </a:rPr>
              <a:t>へのアクセスを行うことはできます。</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外部ページの</a:t>
            </a:r>
            <a:r>
              <a:rPr lang="en-US" altLang="ja-JP" sz="1200" dirty="0">
                <a:latin typeface="Yu Gothic UI" panose="020B0500000000000000" pitchFamily="50" charset="-128"/>
                <a:ea typeface="Yu Gothic UI" panose="020B0500000000000000" pitchFamily="50" charset="-128"/>
              </a:rPr>
              <a:t>JavaScript</a:t>
            </a:r>
            <a:r>
              <a:rPr lang="ja-JP" altLang="en-US" sz="1200"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sz="1200" dirty="0">
                <a:latin typeface="Yu Gothic UI" panose="020B0500000000000000" pitchFamily="50" charset="-128"/>
                <a:ea typeface="Yu Gothic UI" panose="020B0500000000000000" pitchFamily="50" charset="-128"/>
              </a:rPr>
              <a:t>POC</a:t>
            </a:r>
            <a:r>
              <a:rPr lang="ja-JP" altLang="en-US" sz="1200" dirty="0">
                <a:latin typeface="Yu Gothic UI" panose="020B0500000000000000" pitchFamily="50" charset="-128"/>
                <a:ea typeface="Yu Gothic UI" panose="020B0500000000000000" pitchFamily="50" charset="-128"/>
              </a:rPr>
              <a:t>が必要。</a:t>
            </a:r>
            <a:endParaRPr lang="en-US" altLang="ja-JP" sz="1200" dirty="0">
              <a:latin typeface="Yu Gothic UI" panose="020B0500000000000000" pitchFamily="50" charset="-128"/>
              <a:ea typeface="Yu Gothic UI" panose="020B0500000000000000" pitchFamily="50" charset="-128"/>
            </a:endParaRPr>
          </a:p>
        </p:txBody>
      </p:sp>
      <p:pic>
        <p:nvPicPr>
          <p:cNvPr id="4" name="図 3"/>
          <p:cNvPicPr>
            <a:picLocks noChangeAspect="1"/>
          </p:cNvPicPr>
          <p:nvPr/>
        </p:nvPicPr>
        <p:blipFill>
          <a:blip r:embed="rId3"/>
          <a:stretch>
            <a:fillRect/>
          </a:stretch>
        </p:blipFill>
        <p:spPr>
          <a:xfrm>
            <a:off x="7135273" y="2615572"/>
            <a:ext cx="1673447" cy="495901"/>
          </a:xfrm>
          <a:prstGeom prst="rect">
            <a:avLst/>
          </a:prstGeom>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ED65042F-6CBD-AA69-6B0C-CF3722A869A9}"/>
              </a:ext>
            </a:extLst>
          </p:cNvPr>
          <p:cNvPicPr>
            <a:picLocks noGrp="1" noRot="1" noChangeAspect="1" noMove="1" noResize="1" noEditPoints="1" noAdjustHandles="1" noChangeArrowheads="1" noChangeShapeType="1" noCrop="1"/>
          </p:cNvPicPr>
          <p:nvPr>
            <p:ph sz="quarter" idx="10"/>
          </p:nvPr>
        </p:nvPicPr>
        <p:blipFill>
          <a:blip r:embed="rId4"/>
          <a:stretch>
            <a:fillRect/>
          </a:stretch>
        </p:blipFill>
        <p:spPr>
          <a:xfrm>
            <a:off x="7225256" y="1746213"/>
            <a:ext cx="1084608" cy="623650"/>
          </a:xfrm>
        </p:spPr>
      </p:pic>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1ACAB65-3AB2-344A-FB04-7B15DA6A0DF0}"/>
              </a:ext>
            </a:extLst>
          </p:cNvPr>
          <p:cNvPicPr>
            <a:picLocks noGrp="1" noRot="1" noChangeAspect="1" noMove="1" noResize="1" noEditPoints="1" noAdjustHandles="1" noChangeArrowheads="1" noChangeShapeType="1" noCrop="1"/>
          </p:cNvPicPr>
          <p:nvPr/>
        </p:nvPicPr>
        <p:blipFill>
          <a:blip r:embed="rId5"/>
          <a:stretch>
            <a:fillRect/>
          </a:stretch>
        </p:blipFill>
        <p:spPr>
          <a:xfrm>
            <a:off x="9036550" y="1664184"/>
            <a:ext cx="911875" cy="786151"/>
          </a:xfrm>
          <a:prstGeom prst="rect">
            <a:avLst/>
          </a:prstGeom>
        </p:spPr>
      </p:pic>
      <p:pic>
        <p:nvPicPr>
          <p:cNvPr id="8" name="図 7" descr="部屋, 賭博場 が含まれている画像&#10;&#10;AI によって生成されたコンテンツは間違っている可能性があります。">
            <a:extLst>
              <a:ext uri="{FF2B5EF4-FFF2-40B4-BE49-F238E27FC236}">
                <a16:creationId xmlns:a16="http://schemas.microsoft.com/office/drawing/2014/main" id="{944E0A13-6EAB-94C1-BA90-E7306C49B52F}"/>
              </a:ext>
            </a:extLst>
          </p:cNvPr>
          <p:cNvPicPr>
            <a:picLocks noGrp="1" noRot="1" noChangeAspect="1" noMove="1" noResize="1" noEditPoints="1" noAdjustHandles="1" noChangeArrowheads="1" noChangeShapeType="1" noCrop="1"/>
          </p:cNvPicPr>
          <p:nvPr/>
        </p:nvPicPr>
        <p:blipFill>
          <a:blip r:embed="rId6"/>
          <a:stretch>
            <a:fillRect/>
          </a:stretch>
        </p:blipFill>
        <p:spPr>
          <a:xfrm>
            <a:off x="10675111" y="1031258"/>
            <a:ext cx="1158274" cy="683630"/>
          </a:xfrm>
          <a:prstGeom prst="rect">
            <a:avLst/>
          </a:prstGeom>
        </p:spPr>
      </p:pic>
      <p:pic>
        <p:nvPicPr>
          <p:cNvPr id="9" name="図 8" descr="ロゴ, アイコン&#10;&#10;AI によって生成されたコンテンツは間違っている可能性があります。">
            <a:extLst>
              <a:ext uri="{FF2B5EF4-FFF2-40B4-BE49-F238E27FC236}">
                <a16:creationId xmlns:a16="http://schemas.microsoft.com/office/drawing/2014/main" id="{0E7B17E4-6701-30C0-DAC9-238982F9C12A}"/>
              </a:ext>
            </a:extLst>
          </p:cNvPr>
          <p:cNvPicPr>
            <a:picLocks noGrp="1" noRot="1" noChangeAspect="1" noMove="1" noResize="1" noEditPoints="1" noAdjustHandles="1" noChangeArrowheads="1" noChangeShapeType="1" noCrop="1"/>
          </p:cNvPicPr>
          <p:nvPr/>
        </p:nvPicPr>
        <p:blipFill>
          <a:blip r:embed="rId7"/>
          <a:stretch>
            <a:fillRect/>
          </a:stretch>
        </p:blipFill>
        <p:spPr>
          <a:xfrm>
            <a:off x="10932449" y="2369863"/>
            <a:ext cx="643597" cy="629116"/>
          </a:xfrm>
          <a:prstGeom prst="rect">
            <a:avLst/>
          </a:prstGeom>
        </p:spPr>
      </p:pic>
      <p:sp>
        <p:nvSpPr>
          <p:cNvPr id="10" name="テキスト ボックス 9">
            <a:extLst>
              <a:ext uri="{FF2B5EF4-FFF2-40B4-BE49-F238E27FC236}">
                <a16:creationId xmlns:a16="http://schemas.microsoft.com/office/drawing/2014/main" id="{611FA5FB-7620-4324-88D3-512BF9B0B1D3}"/>
              </a:ext>
            </a:extLst>
          </p:cNvPr>
          <p:cNvSpPr txBox="1">
            <a:spLocks noGrp="1" noRot="1" noMove="1" noResize="1" noEditPoints="1" noAdjustHandles="1" noChangeArrowheads="1" noChangeShapeType="1"/>
          </p:cNvSpPr>
          <p:nvPr/>
        </p:nvSpPr>
        <p:spPr>
          <a:xfrm>
            <a:off x="8148659" y="1519204"/>
            <a:ext cx="1049097" cy="400110"/>
          </a:xfrm>
          <a:prstGeom prst="rect">
            <a:avLst/>
          </a:prstGeom>
          <a:noFill/>
        </p:spPr>
        <p:txBody>
          <a:bodyPr wrap="square" rtlCol="0">
            <a:spAutoFit/>
          </a:bodyPr>
          <a:lstStyle/>
          <a:p>
            <a:pPr algn="ctr"/>
            <a:r>
              <a:rPr lang="en-US" altLang="ja-JP" sz="1000" dirty="0"/>
              <a:t>Download</a:t>
            </a:r>
            <a:r>
              <a:rPr lang="ja-JP" altLang="en-US" sz="1000" dirty="0"/>
              <a:t> </a:t>
            </a:r>
            <a:endParaRPr lang="en-US" altLang="ja-JP" sz="1000" dirty="0"/>
          </a:p>
          <a:p>
            <a:pPr algn="ctr"/>
            <a:r>
              <a:rPr lang="en-US" altLang="ja-JP" sz="1000" dirty="0"/>
              <a:t>request</a:t>
            </a:r>
            <a:endParaRPr kumimoji="1" lang="ja-JP" altLang="en-US" sz="600" dirty="0"/>
          </a:p>
        </p:txBody>
      </p:sp>
      <p:sp>
        <p:nvSpPr>
          <p:cNvPr id="11" name="ひし形 10">
            <a:extLst>
              <a:ext uri="{FF2B5EF4-FFF2-40B4-BE49-F238E27FC236}">
                <a16:creationId xmlns:a16="http://schemas.microsoft.com/office/drawing/2014/main" id="{A2F23E60-44C9-327D-13DD-39893E0A6278}"/>
              </a:ext>
            </a:extLst>
          </p:cNvPr>
          <p:cNvSpPr>
            <a:spLocks noGrp="1" noRot="1" noMove="1" noResize="1" noEditPoints="1" noAdjustHandles="1" noChangeArrowheads="1" noChangeShapeType="1"/>
          </p:cNvSpPr>
          <p:nvPr/>
        </p:nvSpPr>
        <p:spPr>
          <a:xfrm>
            <a:off x="8962312" y="185091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2" name="コネクタ: カギ線 11">
            <a:extLst>
              <a:ext uri="{FF2B5EF4-FFF2-40B4-BE49-F238E27FC236}">
                <a16:creationId xmlns:a16="http://schemas.microsoft.com/office/drawing/2014/main" id="{F5C01C4D-AD2A-566A-7BED-260CDC8A9E3E}"/>
              </a:ext>
            </a:extLst>
          </p:cNvPr>
          <p:cNvCxnSpPr>
            <a:cxnSpLocks noGrp="1" noRot="1" noMove="1" noResize="1" noEditPoints="1" noAdjustHandles="1" noChangeArrowheads="1" noChangeShapeType="1"/>
            <a:stCxn id="11" idx="1"/>
            <a:endCxn id="3" idx="3"/>
          </p:cNvCxnSpPr>
          <p:nvPr/>
        </p:nvCxnSpPr>
        <p:spPr>
          <a:xfrm rot="10800000" flipV="1">
            <a:off x="8309864" y="1885114"/>
            <a:ext cx="652448" cy="17292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7" name="ひし形 16">
            <a:extLst>
              <a:ext uri="{FF2B5EF4-FFF2-40B4-BE49-F238E27FC236}">
                <a16:creationId xmlns:a16="http://schemas.microsoft.com/office/drawing/2014/main" id="{E25D5D8D-BA9D-B4BD-6596-D534F6178AB4}"/>
              </a:ext>
            </a:extLst>
          </p:cNvPr>
          <p:cNvSpPr>
            <a:spLocks noGrp="1" noRot="1" noMove="1" noResize="1" noEditPoints="1" noAdjustHandles="1" noChangeArrowheads="1" noChangeShapeType="1"/>
          </p:cNvSpPr>
          <p:nvPr/>
        </p:nvSpPr>
        <p:spPr>
          <a:xfrm>
            <a:off x="8971081" y="22428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9" name="コネクタ: カギ線 18">
            <a:extLst>
              <a:ext uri="{FF2B5EF4-FFF2-40B4-BE49-F238E27FC236}">
                <a16:creationId xmlns:a16="http://schemas.microsoft.com/office/drawing/2014/main" id="{A653D454-21AE-C69A-C473-415D31E457D1}"/>
              </a:ext>
            </a:extLst>
          </p:cNvPr>
          <p:cNvCxnSpPr>
            <a:cxnSpLocks noGrp="1" noRot="1" noMove="1" noResize="1" noEditPoints="1" noAdjustHandles="1" noChangeArrowheads="1" noChangeShapeType="1"/>
            <a:stCxn id="9" idx="1"/>
            <a:endCxn id="5" idx="3"/>
          </p:cNvCxnSpPr>
          <p:nvPr/>
        </p:nvCxnSpPr>
        <p:spPr>
          <a:xfrm rot="10800000">
            <a:off x="9948425" y="2057261"/>
            <a:ext cx="984024" cy="627161"/>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ひし形 21">
            <a:extLst>
              <a:ext uri="{FF2B5EF4-FFF2-40B4-BE49-F238E27FC236}">
                <a16:creationId xmlns:a16="http://schemas.microsoft.com/office/drawing/2014/main" id="{1D19EB9E-8BF7-9B70-9F7B-CCD82D95FF36}"/>
              </a:ext>
            </a:extLst>
          </p:cNvPr>
          <p:cNvSpPr>
            <a:spLocks noGrp="1" noRot="1" noMove="1" noResize="1" noEditPoints="1" noAdjustHandles="1" noChangeArrowheads="1" noChangeShapeType="1"/>
          </p:cNvSpPr>
          <p:nvPr/>
        </p:nvSpPr>
        <p:spPr>
          <a:xfrm>
            <a:off x="8283539" y="21397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23" name="コネクタ: カギ線 22">
            <a:extLst>
              <a:ext uri="{FF2B5EF4-FFF2-40B4-BE49-F238E27FC236}">
                <a16:creationId xmlns:a16="http://schemas.microsoft.com/office/drawing/2014/main" id="{2E4EA81E-6181-E828-3E3A-321400679CF2}"/>
              </a:ext>
            </a:extLst>
          </p:cNvPr>
          <p:cNvCxnSpPr>
            <a:cxnSpLocks noGrp="1" noRot="1" noMove="1" noResize="1" noEditPoints="1" noAdjustHandles="1" noChangeArrowheads="1" noChangeShapeType="1"/>
            <a:stCxn id="22" idx="3"/>
            <a:endCxn id="17" idx="1"/>
          </p:cNvCxnSpPr>
          <p:nvPr/>
        </p:nvCxnSpPr>
        <p:spPr>
          <a:xfrm>
            <a:off x="8353281" y="2173970"/>
            <a:ext cx="617800" cy="10307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27C1F174-4F20-4865-36C6-ED7EB53B8202}"/>
              </a:ext>
            </a:extLst>
          </p:cNvPr>
          <p:cNvSpPr txBox="1">
            <a:spLocks noGrp="1" noRot="1" noMove="1" noResize="1" noEditPoints="1" noAdjustHandles="1" noChangeArrowheads="1" noChangeShapeType="1"/>
          </p:cNvSpPr>
          <p:nvPr/>
        </p:nvSpPr>
        <p:spPr>
          <a:xfrm>
            <a:off x="8097944" y="2311244"/>
            <a:ext cx="1475883" cy="400110"/>
          </a:xfrm>
          <a:prstGeom prst="rect">
            <a:avLst/>
          </a:prstGeom>
          <a:noFill/>
        </p:spPr>
        <p:txBody>
          <a:bodyPr wrap="square" rtlCol="0">
            <a:spAutoFit/>
          </a:bodyPr>
          <a:lstStyle>
            <a:defPPr>
              <a:defRPr lang="ja-JP"/>
            </a:defPPr>
            <a:lvl1pPr algn="ctr">
              <a:defRPr sz="1000"/>
            </a:lvl1pPr>
          </a:lstStyle>
          <a:p>
            <a:r>
              <a:rPr lang="en-US" altLang="ja-JP" dirty="0"/>
              <a:t>Zip </a:t>
            </a:r>
          </a:p>
          <a:p>
            <a:r>
              <a:rPr lang="en-US" altLang="ja-JP" dirty="0"/>
              <a:t>Download</a:t>
            </a:r>
            <a:endParaRPr lang="ja-JP" altLang="en-US" dirty="0"/>
          </a:p>
        </p:txBody>
      </p:sp>
      <p:sp>
        <p:nvSpPr>
          <p:cNvPr id="27" name="テキスト ボックス 26">
            <a:extLst>
              <a:ext uri="{FF2B5EF4-FFF2-40B4-BE49-F238E27FC236}">
                <a16:creationId xmlns:a16="http://schemas.microsoft.com/office/drawing/2014/main" id="{96C6B8BA-3036-D96F-198D-7F80076030EB}"/>
              </a:ext>
            </a:extLst>
          </p:cNvPr>
          <p:cNvSpPr txBox="1">
            <a:spLocks noGrp="1" noRot="1" noMove="1" noResize="1" noEditPoints="1" noAdjustHandles="1" noChangeArrowheads="1" noChangeShapeType="1"/>
          </p:cNvSpPr>
          <p:nvPr/>
        </p:nvSpPr>
        <p:spPr>
          <a:xfrm>
            <a:off x="10256039" y="1842320"/>
            <a:ext cx="1049097" cy="400110"/>
          </a:xfrm>
          <a:prstGeom prst="rect">
            <a:avLst/>
          </a:prstGeom>
          <a:noFill/>
        </p:spPr>
        <p:txBody>
          <a:bodyPr wrap="square" rtlCol="0">
            <a:spAutoFit/>
          </a:bodyPr>
          <a:lstStyle/>
          <a:p>
            <a:pPr algn="ctr"/>
            <a:r>
              <a:rPr lang="ja-JP" altLang="en-US" sz="1000" dirty="0"/>
              <a:t>添付ファイル取得</a:t>
            </a:r>
            <a:endParaRPr kumimoji="1" lang="ja-JP" altLang="en-US" sz="600" dirty="0"/>
          </a:p>
        </p:txBody>
      </p:sp>
      <p:sp>
        <p:nvSpPr>
          <p:cNvPr id="28" name="ひし形 27">
            <a:extLst>
              <a:ext uri="{FF2B5EF4-FFF2-40B4-BE49-F238E27FC236}">
                <a16:creationId xmlns:a16="http://schemas.microsoft.com/office/drawing/2014/main" id="{1305AC61-2ABE-194F-D3B9-A88106D091EB}"/>
              </a:ext>
            </a:extLst>
          </p:cNvPr>
          <p:cNvSpPr>
            <a:spLocks noGrp="1" noRot="1" noMove="1" noResize="1" noEditPoints="1" noAdjustHandles="1" noChangeArrowheads="1" noChangeShapeType="1"/>
          </p:cNvSpPr>
          <p:nvPr/>
        </p:nvSpPr>
        <p:spPr>
          <a:xfrm>
            <a:off x="9935789" y="18804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0" name="コネクタ: カギ線 29">
            <a:extLst>
              <a:ext uri="{FF2B5EF4-FFF2-40B4-BE49-F238E27FC236}">
                <a16:creationId xmlns:a16="http://schemas.microsoft.com/office/drawing/2014/main" id="{5F8CAA34-4EE7-0779-A287-9DF13B08A437}"/>
              </a:ext>
            </a:extLst>
          </p:cNvPr>
          <p:cNvCxnSpPr>
            <a:cxnSpLocks noGrp="1" noRot="1" noMove="1" noResize="1" noEditPoints="1" noAdjustHandles="1" noChangeArrowheads="1" noChangeShapeType="1"/>
            <a:stCxn id="8" idx="1"/>
            <a:endCxn id="28" idx="3"/>
          </p:cNvCxnSpPr>
          <p:nvPr/>
        </p:nvCxnSpPr>
        <p:spPr>
          <a:xfrm rot="10800000" flipV="1">
            <a:off x="10005531" y="1373073"/>
            <a:ext cx="669580" cy="541558"/>
          </a:xfrm>
          <a:prstGeom prst="bentConnector3">
            <a:avLst>
              <a:gd name="adj1" fmla="val 50000"/>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6FCCFBA2-80DA-DE56-16FB-27544437267B}"/>
              </a:ext>
            </a:extLst>
          </p:cNvPr>
          <p:cNvSpPr txBox="1">
            <a:spLocks noGrp="1" noRot="1" noMove="1" noResize="1" noEditPoints="1" noAdjustHandles="1" noChangeArrowheads="1" noChangeShapeType="1"/>
          </p:cNvSpPr>
          <p:nvPr/>
        </p:nvSpPr>
        <p:spPr>
          <a:xfrm>
            <a:off x="9946510" y="266527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34" name="テキスト ボックス 33">
            <a:extLst>
              <a:ext uri="{FF2B5EF4-FFF2-40B4-BE49-F238E27FC236}">
                <a16:creationId xmlns:a16="http://schemas.microsoft.com/office/drawing/2014/main" id="{D080D4B5-33C2-D04C-58A4-91869F64D4F8}"/>
              </a:ext>
            </a:extLst>
          </p:cNvPr>
          <p:cNvSpPr txBox="1">
            <a:spLocks noGrp="1" noRot="1" noMove="1" noResize="1" noEditPoints="1" noAdjustHandles="1" noChangeArrowheads="1" noChangeShapeType="1"/>
          </p:cNvSpPr>
          <p:nvPr/>
        </p:nvSpPr>
        <p:spPr>
          <a:xfrm>
            <a:off x="9492487" y="1026587"/>
            <a:ext cx="1310574" cy="461665"/>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35" name="テキスト ボックス 34">
            <a:extLst>
              <a:ext uri="{FF2B5EF4-FFF2-40B4-BE49-F238E27FC236}">
                <a16:creationId xmlns:a16="http://schemas.microsoft.com/office/drawing/2014/main" id="{07156DEC-D84B-AD51-E4C1-C7745FF03A88}"/>
              </a:ext>
            </a:extLst>
          </p:cNvPr>
          <p:cNvSpPr txBox="1">
            <a:spLocks noGrp="1" noRot="1" noMove="1" noResize="1" noEditPoints="1" noAdjustHandles="1" noChangeArrowheads="1" noChangeShapeType="1"/>
          </p:cNvSpPr>
          <p:nvPr/>
        </p:nvSpPr>
        <p:spPr>
          <a:xfrm>
            <a:off x="9082846" y="2470646"/>
            <a:ext cx="1093047" cy="338554"/>
          </a:xfrm>
          <a:prstGeom prst="rect">
            <a:avLst/>
          </a:prstGeom>
          <a:noFill/>
        </p:spPr>
        <p:txBody>
          <a:bodyPr wrap="square" rtlCol="0">
            <a:spAutoFit/>
          </a:bodyPr>
          <a:lstStyle/>
          <a:p>
            <a:pPr algn="ctr"/>
            <a:r>
              <a:rPr lang="ja-JP" altLang="en-US" sz="800" b="1" dirty="0"/>
              <a:t>複数ファイルを取得し、</a:t>
            </a:r>
            <a:r>
              <a:rPr lang="en-US" altLang="ja-JP" sz="800" b="1" dirty="0"/>
              <a:t>Zip</a:t>
            </a:r>
            <a:r>
              <a:rPr lang="ja-JP" altLang="en-US" sz="800" b="1" dirty="0"/>
              <a:t>にする</a:t>
            </a:r>
            <a:endParaRPr kumimoji="1" lang="ja-JP" altLang="en-US" sz="400" b="1" dirty="0"/>
          </a:p>
        </p:txBody>
      </p:sp>
      <p:sp>
        <p:nvSpPr>
          <p:cNvPr id="36" name="四角形: 角を丸くする 35">
            <a:extLst>
              <a:ext uri="{FF2B5EF4-FFF2-40B4-BE49-F238E27FC236}">
                <a16:creationId xmlns:a16="http://schemas.microsoft.com/office/drawing/2014/main" id="{AB4C2A2D-9240-EDBD-C317-786B2F0B439B}"/>
              </a:ext>
            </a:extLst>
          </p:cNvPr>
          <p:cNvSpPr>
            <a:spLocks/>
          </p:cNvSpPr>
          <p:nvPr/>
        </p:nvSpPr>
        <p:spPr>
          <a:xfrm>
            <a:off x="7023551" y="746211"/>
            <a:ext cx="4919529" cy="2420005"/>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角を丸くする 36">
            <a:extLst>
              <a:ext uri="{FF2B5EF4-FFF2-40B4-BE49-F238E27FC236}">
                <a16:creationId xmlns:a16="http://schemas.microsoft.com/office/drawing/2014/main" id="{5C36AF81-6A27-5DF0-5677-924E9C819293}"/>
              </a:ext>
            </a:extLst>
          </p:cNvPr>
          <p:cNvSpPr/>
          <p:nvPr/>
        </p:nvSpPr>
        <p:spPr>
          <a:xfrm>
            <a:off x="7032722" y="3415801"/>
            <a:ext cx="4919529" cy="2552854"/>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531273D5-EDE3-11B0-B91C-0D5878763265}"/>
              </a:ext>
            </a:extLst>
          </p:cNvPr>
          <p:cNvPicPr>
            <a:picLocks/>
          </p:cNvPicPr>
          <p:nvPr/>
        </p:nvPicPr>
        <p:blipFill>
          <a:blip r:embed="rId4"/>
          <a:stretch>
            <a:fillRect/>
          </a:stretch>
        </p:blipFill>
        <p:spPr>
          <a:xfrm>
            <a:off x="7143976" y="3731248"/>
            <a:ext cx="1466624" cy="859119"/>
          </a:xfrm>
          <a:prstGeom prst="rect">
            <a:avLst/>
          </a:prstGeom>
        </p:spPr>
      </p:pic>
      <p:pic>
        <p:nvPicPr>
          <p:cNvPr id="1026" name="Picture 2" descr="WebView2APISample アプリの実行">
            <a:extLst>
              <a:ext uri="{FF2B5EF4-FFF2-40B4-BE49-F238E27FC236}">
                <a16:creationId xmlns:a16="http://schemas.microsoft.com/office/drawing/2014/main" id="{786172C5-BE22-6FE9-70AE-74E8458603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72156" y="4311581"/>
            <a:ext cx="686572" cy="397846"/>
          </a:xfrm>
          <a:prstGeom prst="rect">
            <a:avLst/>
          </a:prstGeom>
          <a:noFill/>
          <a:extLst>
            <a:ext uri="{909E8E84-426E-40DD-AFC4-6F175D3DCCD1}">
              <a14:hiddenFill xmlns:a14="http://schemas.microsoft.com/office/drawing/2010/main">
                <a:solidFill>
                  <a:srgbClr val="FFFFFF"/>
                </a:solidFill>
              </a14:hiddenFill>
            </a:ext>
          </a:extLst>
        </p:spPr>
      </p:pic>
      <p:pic>
        <p:nvPicPr>
          <p:cNvPr id="41" name="図 40" descr="部屋, 賭博場 が含まれている画像&#10;&#10;AI によって生成されたコンテンツは間違っている可能性があります。">
            <a:extLst>
              <a:ext uri="{FF2B5EF4-FFF2-40B4-BE49-F238E27FC236}">
                <a16:creationId xmlns:a16="http://schemas.microsoft.com/office/drawing/2014/main" id="{8E9EFDF4-2BCC-56FD-6252-F85371325FD0}"/>
              </a:ext>
            </a:extLst>
          </p:cNvPr>
          <p:cNvPicPr/>
          <p:nvPr/>
        </p:nvPicPr>
        <p:blipFill>
          <a:blip r:embed="rId6"/>
          <a:stretch>
            <a:fillRect/>
          </a:stretch>
        </p:blipFill>
        <p:spPr>
          <a:xfrm>
            <a:off x="10691256" y="4058777"/>
            <a:ext cx="1158274" cy="683630"/>
          </a:xfrm>
          <a:prstGeom prst="rect">
            <a:avLst/>
          </a:prstGeom>
        </p:spPr>
      </p:pic>
      <p:pic>
        <p:nvPicPr>
          <p:cNvPr id="42" name="図 41" descr="ロゴ, アイコン&#10;&#10;AI によって生成されたコンテンツは間違っている可能性があります。">
            <a:extLst>
              <a:ext uri="{FF2B5EF4-FFF2-40B4-BE49-F238E27FC236}">
                <a16:creationId xmlns:a16="http://schemas.microsoft.com/office/drawing/2014/main" id="{A3BE9140-324E-4754-4223-7B649CE936AB}"/>
              </a:ext>
            </a:extLst>
          </p:cNvPr>
          <p:cNvPicPr/>
          <p:nvPr/>
        </p:nvPicPr>
        <p:blipFill>
          <a:blip r:embed="rId7"/>
          <a:stretch>
            <a:fillRect/>
          </a:stretch>
        </p:blipFill>
        <p:spPr>
          <a:xfrm>
            <a:off x="10932449" y="5087943"/>
            <a:ext cx="643597" cy="629116"/>
          </a:xfrm>
          <a:prstGeom prst="rect">
            <a:avLst/>
          </a:prstGeom>
        </p:spPr>
      </p:pic>
      <p:sp>
        <p:nvSpPr>
          <p:cNvPr id="45" name="ひし形 44">
            <a:extLst>
              <a:ext uri="{FF2B5EF4-FFF2-40B4-BE49-F238E27FC236}">
                <a16:creationId xmlns:a16="http://schemas.microsoft.com/office/drawing/2014/main" id="{AC2A33F9-D23A-E1BF-8070-8A636ECDDA05}"/>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46" name="コネクタ: カギ線 45">
            <a:extLst>
              <a:ext uri="{FF2B5EF4-FFF2-40B4-BE49-F238E27FC236}">
                <a16:creationId xmlns:a16="http://schemas.microsoft.com/office/drawing/2014/main" id="{5B278C19-41EF-91A0-1330-9B5E1F8D5D0B}"/>
              </a:ext>
            </a:extLst>
          </p:cNvPr>
          <p:cNvCxnSpPr>
            <a:cxnSpLocks/>
            <a:endCxn id="1025" idx="3"/>
          </p:cNvCxnSpPr>
          <p:nvPr/>
        </p:nvCxnSpPr>
        <p:spPr>
          <a:xfrm rot="10800000">
            <a:off x="8673207" y="4373437"/>
            <a:ext cx="2259244" cy="1029066"/>
          </a:xfrm>
          <a:prstGeom prst="bentConnector3">
            <a:avLst>
              <a:gd name="adj1" fmla="val 24816"/>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テキスト ボックス 48">
            <a:extLst>
              <a:ext uri="{FF2B5EF4-FFF2-40B4-BE49-F238E27FC236}">
                <a16:creationId xmlns:a16="http://schemas.microsoft.com/office/drawing/2014/main" id="{CC8062C9-B741-8172-DF62-932172D25746}"/>
              </a:ext>
            </a:extLst>
          </p:cNvPr>
          <p:cNvSpPr txBox="1"/>
          <p:nvPr/>
        </p:nvSpPr>
        <p:spPr>
          <a:xfrm>
            <a:off x="9097507" y="4077426"/>
            <a:ext cx="1049097" cy="215444"/>
          </a:xfrm>
          <a:prstGeom prst="rect">
            <a:avLst/>
          </a:prstGeom>
          <a:noFill/>
        </p:spPr>
        <p:txBody>
          <a:bodyPr wrap="square" rtlCol="0">
            <a:spAutoFit/>
          </a:bodyPr>
          <a:lstStyle/>
          <a:p>
            <a:pPr algn="ctr"/>
            <a:r>
              <a:rPr lang="ja-JP" altLang="en-US" sz="800" b="1" dirty="0"/>
              <a:t>添付ファイル取得</a:t>
            </a:r>
            <a:endParaRPr kumimoji="1" lang="ja-JP" altLang="en-US" sz="400" b="1" dirty="0"/>
          </a:p>
        </p:txBody>
      </p:sp>
      <p:sp>
        <p:nvSpPr>
          <p:cNvPr id="50" name="ひし形 49">
            <a:extLst>
              <a:ext uri="{FF2B5EF4-FFF2-40B4-BE49-F238E27FC236}">
                <a16:creationId xmlns:a16="http://schemas.microsoft.com/office/drawing/2014/main" id="{CB0810E1-9F6F-6930-EBC0-582CD24EFC47}"/>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51" name="コネクタ: カギ線 50">
            <a:extLst>
              <a:ext uri="{FF2B5EF4-FFF2-40B4-BE49-F238E27FC236}">
                <a16:creationId xmlns:a16="http://schemas.microsoft.com/office/drawing/2014/main" id="{612AF02D-1591-6E53-3562-7292BCCAE86D}"/>
              </a:ext>
            </a:extLst>
          </p:cNvPr>
          <p:cNvCxnSpPr>
            <a:cxnSpLocks/>
            <a:stCxn id="41" idx="0"/>
            <a:endCxn id="50" idx="3"/>
          </p:cNvCxnSpPr>
          <p:nvPr/>
        </p:nvCxnSpPr>
        <p:spPr>
          <a:xfrm rot="16200000" flipV="1">
            <a:off x="9909527" y="2697910"/>
            <a:ext cx="131683" cy="2590051"/>
          </a:xfrm>
          <a:prstGeom prst="bentConnector2">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240366E5-522F-BED1-7E22-A83EE668803E}"/>
              </a:ext>
            </a:extLst>
          </p:cNvPr>
          <p:cNvSpPr txBox="1"/>
          <p:nvPr/>
        </p:nvSpPr>
        <p:spPr>
          <a:xfrm>
            <a:off x="9946510" y="538335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53" name="テキスト ボックス 52">
            <a:extLst>
              <a:ext uri="{FF2B5EF4-FFF2-40B4-BE49-F238E27FC236}">
                <a16:creationId xmlns:a16="http://schemas.microsoft.com/office/drawing/2014/main" id="{B2CB038B-03D1-0D8B-10DF-6400006EECF2}"/>
              </a:ext>
            </a:extLst>
          </p:cNvPr>
          <p:cNvSpPr txBox="1"/>
          <p:nvPr/>
        </p:nvSpPr>
        <p:spPr>
          <a:xfrm>
            <a:off x="9741408" y="3623980"/>
            <a:ext cx="1396882" cy="338554"/>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endParaRPr lang="en-US" altLang="ja-JP" sz="800" dirty="0">
              <a:solidFill>
                <a:schemeClr val="accent1">
                  <a:lumMod val="60000"/>
                  <a:lumOff val="40000"/>
                </a:schemeClr>
              </a:solidFill>
            </a:endParaRPr>
          </a:p>
          <a:p>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59" name="テキスト ボックス 58">
            <a:extLst>
              <a:ext uri="{FF2B5EF4-FFF2-40B4-BE49-F238E27FC236}">
                <a16:creationId xmlns:a16="http://schemas.microsoft.com/office/drawing/2014/main" id="{EEA18915-2B03-2711-02B3-AA6653EB607F}"/>
              </a:ext>
            </a:extLst>
          </p:cNvPr>
          <p:cNvSpPr txBox="1"/>
          <p:nvPr/>
        </p:nvSpPr>
        <p:spPr>
          <a:xfrm>
            <a:off x="7111744" y="4944435"/>
            <a:ext cx="2691085" cy="954107"/>
          </a:xfrm>
          <a:prstGeom prst="rect">
            <a:avLst/>
          </a:prstGeom>
          <a:noFill/>
        </p:spPr>
        <p:txBody>
          <a:bodyPr wrap="square" rtlCol="0">
            <a:spAutoFit/>
          </a:bodyPr>
          <a:lstStyle/>
          <a:p>
            <a:pPr marL="228600" indent="-228600">
              <a:buFont typeface="+mj-lt"/>
              <a:buAutoNum type="arabicPeriod"/>
            </a:pPr>
            <a:r>
              <a:rPr kumimoji="1" lang="en-US" altLang="ja-JP" sz="700" dirty="0"/>
              <a:t>Power</a:t>
            </a:r>
            <a:r>
              <a:rPr lang="ja-JP" altLang="en-US" sz="700" dirty="0"/>
              <a:t> </a:t>
            </a:r>
            <a:r>
              <a:rPr lang="en-US" altLang="ja-JP" sz="700" dirty="0"/>
              <a:t>Apps</a:t>
            </a:r>
            <a:r>
              <a:rPr lang="ja-JP" altLang="en-US" sz="700" dirty="0"/>
              <a:t>　は直接</a:t>
            </a:r>
            <a:r>
              <a:rPr lang="en-US" altLang="ja-JP" sz="700" dirty="0"/>
              <a:t>Dataverse</a:t>
            </a:r>
            <a:r>
              <a:rPr lang="ja-JP" altLang="en-US" sz="700" dirty="0"/>
              <a:t>あるいは</a:t>
            </a:r>
            <a:r>
              <a:rPr lang="en-US" altLang="ja-JP" sz="700" dirty="0"/>
              <a:t>SPO</a:t>
            </a:r>
            <a:r>
              <a:rPr lang="ja-JP" altLang="en-US" sz="700" dirty="0"/>
              <a:t>からファイル内容を取得し、画面に保存</a:t>
            </a:r>
            <a:endParaRPr lang="en-US" altLang="ja-JP" sz="700" dirty="0"/>
          </a:p>
          <a:p>
            <a:pPr marL="228600" indent="-228600">
              <a:buFont typeface="+mj-lt"/>
              <a:buAutoNum type="arabicPeriod"/>
            </a:pPr>
            <a:r>
              <a:rPr kumimoji="1" lang="ja-JP" altLang="en-US" sz="700" dirty="0"/>
              <a:t>埋め込みの</a:t>
            </a:r>
            <a:r>
              <a:rPr kumimoji="1" lang="en-US" altLang="ja-JP" sz="700" dirty="0" err="1"/>
              <a:t>WebControl</a:t>
            </a:r>
            <a:r>
              <a:rPr kumimoji="1" lang="ja-JP" altLang="en-US" sz="700" dirty="0"/>
              <a:t>に</a:t>
            </a:r>
            <a:r>
              <a:rPr kumimoji="1" lang="en-US" altLang="ja-JP" sz="700" dirty="0"/>
              <a:t>JavaScript</a:t>
            </a:r>
            <a:r>
              <a:rPr kumimoji="1" lang="ja-JP" altLang="en-US" sz="700" dirty="0"/>
              <a:t>を</a:t>
            </a:r>
            <a:r>
              <a:rPr kumimoji="1" lang="en-US" altLang="ja-JP" sz="700" dirty="0"/>
              <a:t>Trigger</a:t>
            </a:r>
            <a:r>
              <a:rPr kumimoji="1" lang="ja-JP" altLang="en-US" sz="700" dirty="0"/>
              <a:t>、</a:t>
            </a:r>
            <a:r>
              <a:rPr kumimoji="1" lang="en-US" altLang="ja-JP" sz="700" dirty="0"/>
              <a:t>JavaScript</a:t>
            </a:r>
            <a:r>
              <a:rPr kumimoji="1" lang="ja-JP" altLang="en-US" sz="700" dirty="0"/>
              <a:t>を利用し、</a:t>
            </a:r>
            <a:r>
              <a:rPr kumimoji="1" lang="en-US" altLang="ja-JP" sz="700" dirty="0"/>
              <a:t>DOM Interface</a:t>
            </a:r>
            <a:r>
              <a:rPr lang="ja-JP" altLang="en-US" sz="700" dirty="0"/>
              <a:t>と</a:t>
            </a:r>
            <a:r>
              <a:rPr lang="en-US" altLang="ja-JP" sz="700" dirty="0" err="1"/>
              <a:t>FileObject</a:t>
            </a:r>
            <a:r>
              <a:rPr lang="ja-JP" altLang="en-US" sz="700" dirty="0"/>
              <a:t>を利用し、</a:t>
            </a:r>
            <a:r>
              <a:rPr lang="en-US" altLang="ja-JP" sz="700" dirty="0"/>
              <a:t>JavaScript</a:t>
            </a:r>
            <a:r>
              <a:rPr lang="ja-JP" altLang="en-US" sz="700" dirty="0"/>
              <a:t>により指定場所（一定のルールあるいは事前設定）にファイル毎に</a:t>
            </a:r>
            <a:r>
              <a:rPr lang="en-US" altLang="ja-JP" sz="700" dirty="0"/>
              <a:t>Download</a:t>
            </a:r>
            <a:r>
              <a:rPr lang="ja-JP" altLang="en-US" sz="700" dirty="0"/>
              <a:t>する</a:t>
            </a:r>
            <a:endParaRPr lang="en-US" altLang="ja-JP" sz="700" dirty="0"/>
          </a:p>
          <a:p>
            <a:r>
              <a:rPr kumimoji="1" lang="en-US" altLang="ja-JP" sz="700" dirty="0"/>
              <a:t>※</a:t>
            </a:r>
            <a:r>
              <a:rPr kumimoji="1" lang="ja-JP" altLang="en-US" sz="700" dirty="0"/>
              <a:t>　ファイル</a:t>
            </a:r>
            <a:r>
              <a:rPr kumimoji="1" lang="en-US" altLang="ja-JP" sz="700" dirty="0"/>
              <a:t>Upload</a:t>
            </a:r>
            <a:r>
              <a:rPr kumimoji="1" lang="ja-JP" altLang="en-US" sz="700" dirty="0"/>
              <a:t>自体は、</a:t>
            </a:r>
            <a:r>
              <a:rPr kumimoji="1" lang="en-US" altLang="ja-JP" sz="700" dirty="0"/>
              <a:t>PowerApps</a:t>
            </a:r>
            <a:r>
              <a:rPr kumimoji="1" lang="ja-JP" altLang="en-US" sz="700" dirty="0"/>
              <a:t>の内容</a:t>
            </a:r>
            <a:r>
              <a:rPr kumimoji="1" lang="en-US" altLang="ja-JP" sz="700" dirty="0" err="1"/>
              <a:t>FileUpload</a:t>
            </a:r>
            <a:r>
              <a:rPr lang="ja-JP" altLang="en-US" sz="700" dirty="0"/>
              <a:t> </a:t>
            </a:r>
            <a:r>
              <a:rPr lang="en-US" altLang="ja-JP" sz="700" dirty="0"/>
              <a:t>Control</a:t>
            </a:r>
            <a:r>
              <a:rPr lang="ja-JP" altLang="en-US" sz="700" dirty="0"/>
              <a:t>を利用し、そのまま対応可能</a:t>
            </a:r>
            <a:endParaRPr kumimoji="1" lang="ja-JP" altLang="en-US" sz="700" dirty="0"/>
          </a:p>
        </p:txBody>
      </p:sp>
      <p:sp>
        <p:nvSpPr>
          <p:cNvPr id="1025" name="ひし形 1024">
            <a:extLst>
              <a:ext uri="{FF2B5EF4-FFF2-40B4-BE49-F238E27FC236}">
                <a16:creationId xmlns:a16="http://schemas.microsoft.com/office/drawing/2014/main" id="{AC3B1F0B-E566-6EF5-AAC0-CDE800C734BB}"/>
              </a:ext>
            </a:extLst>
          </p:cNvPr>
          <p:cNvSpPr/>
          <p:nvPr/>
        </p:nvSpPr>
        <p:spPr>
          <a:xfrm>
            <a:off x="8603465" y="4339237"/>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032" name="テキスト ボックス 1031">
            <a:extLst>
              <a:ext uri="{FF2B5EF4-FFF2-40B4-BE49-F238E27FC236}">
                <a16:creationId xmlns:a16="http://schemas.microsoft.com/office/drawing/2014/main" id="{D4139182-7A25-C154-76AA-09ACC96E7A63}"/>
              </a:ext>
            </a:extLst>
          </p:cNvPr>
          <p:cNvSpPr txBox="1"/>
          <p:nvPr/>
        </p:nvSpPr>
        <p:spPr>
          <a:xfrm>
            <a:off x="7106590" y="781772"/>
            <a:ext cx="1595228" cy="307777"/>
          </a:xfrm>
          <a:prstGeom prst="rect">
            <a:avLst/>
          </a:prstGeom>
          <a:noFill/>
        </p:spPr>
        <p:txBody>
          <a:bodyPr wrap="square">
            <a:spAutoFit/>
          </a:bodyPr>
          <a:lstStyle/>
          <a:p>
            <a:r>
              <a:rPr kumimoji="0" lang="ja-JP" altLang="en-US" sz="1400" dirty="0">
                <a:latin typeface="Arial" panose="020B0604020202020204" pitchFamily="34" charset="0"/>
              </a:rPr>
              <a:t>既定案</a:t>
            </a:r>
            <a:endParaRPr lang="ja-JP" altLang="en-US" sz="1400" dirty="0"/>
          </a:p>
        </p:txBody>
      </p:sp>
      <p:sp>
        <p:nvSpPr>
          <p:cNvPr id="1033" name="テキスト ボックス 1032">
            <a:extLst>
              <a:ext uri="{FF2B5EF4-FFF2-40B4-BE49-F238E27FC236}">
                <a16:creationId xmlns:a16="http://schemas.microsoft.com/office/drawing/2014/main" id="{AA6A1C5F-CD32-06FC-BF97-C539693B7948}"/>
              </a:ext>
            </a:extLst>
          </p:cNvPr>
          <p:cNvSpPr txBox="1"/>
          <p:nvPr/>
        </p:nvSpPr>
        <p:spPr>
          <a:xfrm>
            <a:off x="7055415" y="3453109"/>
            <a:ext cx="1979778" cy="307777"/>
          </a:xfrm>
          <a:prstGeom prst="rect">
            <a:avLst/>
          </a:prstGeom>
          <a:noFill/>
        </p:spPr>
        <p:txBody>
          <a:bodyPr wrap="square">
            <a:spAutoFit/>
          </a:bodyPr>
          <a:lstStyle/>
          <a:p>
            <a:r>
              <a:rPr kumimoji="0" lang="ja-JP" altLang="en-US" sz="1400" dirty="0">
                <a:solidFill>
                  <a:srgbClr val="C00000"/>
                </a:solidFill>
                <a:latin typeface="Arial" panose="020B0604020202020204" pitchFamily="34" charset="0"/>
              </a:rPr>
              <a:t>向上案（</a:t>
            </a:r>
            <a:r>
              <a:rPr kumimoji="0" lang="en-US" altLang="ja-JP" sz="1400" dirty="0">
                <a:solidFill>
                  <a:srgbClr val="C00000"/>
                </a:solidFill>
                <a:latin typeface="Arial" panose="020B0604020202020204" pitchFamily="34" charset="0"/>
              </a:rPr>
              <a:t>POC</a:t>
            </a:r>
            <a:r>
              <a:rPr kumimoji="0" lang="ja-JP" altLang="en-US" sz="1400" dirty="0">
                <a:solidFill>
                  <a:srgbClr val="C00000"/>
                </a:solidFill>
                <a:latin typeface="Arial" panose="020B0604020202020204" pitchFamily="34" charset="0"/>
              </a:rPr>
              <a:t>）</a:t>
            </a:r>
            <a:endParaRPr lang="ja-JP" altLang="en-US" sz="1400" dirty="0">
              <a:solidFill>
                <a:srgbClr val="C0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検索機能１</a:t>
            </a:r>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harePointの場合: Microsoft Graph Search APIをPower Automateで呼び出し、</a:t>
            </a:r>
            <a:r>
              <a:rPr kumimoji="0" lang="ja-JP" altLang="en-US" sz="1400">
                <a:latin typeface="Arial" panose="020B0604020202020204" pitchFamily="34" charset="0"/>
              </a:rPr>
              <a:t>保存</a:t>
            </a:r>
            <a:r>
              <a:rPr kumimoji="0" lang="en-US" altLang="ja-JP" sz="1400">
                <a:latin typeface="Arial" panose="020B0604020202020204" pitchFamily="34" charset="0"/>
              </a:rPr>
              <a:t>Document Library</a:t>
            </a:r>
            <a:r>
              <a:rPr kumimoji="0" lang="ja-JP" altLang="en-US" sz="1400">
                <a:latin typeface="Arial" panose="020B0604020202020204" pitchFamily="34" charset="0"/>
              </a:rPr>
              <a:t>であるかどうかでさらにフィルタ後、</a:t>
            </a:r>
            <a:r>
              <a:rPr kumimoji="0" lang="zh-CN" altLang="zh-CN" sz="1400">
                <a:latin typeface="Arial" panose="020B0604020202020204" pitchFamily="34" charset="0"/>
              </a:rPr>
              <a:t>結果をPowerAppsに返</a:t>
            </a:r>
            <a:r>
              <a:rPr kumimoji="0" lang="ja-JP" altLang="en-US" sz="1400">
                <a:latin typeface="Arial" panose="020B0604020202020204" pitchFamily="34" charset="0"/>
              </a:rPr>
              <a:t>す</a:t>
            </a:r>
            <a:r>
              <a:rPr kumimoji="0" lang="ja-JP" altLang="en-US" sz="1400">
                <a:solidFill>
                  <a:srgbClr val="00B050"/>
                </a:solidFill>
                <a:latin typeface="Arial" panose="020B0604020202020204" pitchFamily="34" charset="0"/>
              </a:rPr>
              <a:t>（お薦め）</a:t>
            </a:r>
            <a:endParaRPr kumimoji="0" lang="zh-CN" altLang="zh-CN" sz="140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パフォーマンス: インデックス化により高速化。キャッシュ使用（PowerAppsのCollection）。 </a:t>
            </a:r>
          </a:p>
          <a:p>
            <a:pPr algn="l"/>
            <a:endParaRPr lang="en-US" altLang="ja-JP">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extLst>
              <p:ext uri="{D42A27DB-BD31-4B8C-83A1-F6EECF244321}">
                <p14:modId xmlns:p14="http://schemas.microsoft.com/office/powerpoint/2010/main" val="3180687244"/>
              </p:ext>
            </p:extLst>
          </p:nvPr>
        </p:nvGraphicFramePr>
        <p:xfrm>
          <a:off x="738481" y="3030466"/>
          <a:ext cx="10948606" cy="3092925"/>
        </p:xfrm>
        <a:graphic>
          <a:graphicData uri="http://schemas.openxmlformats.org/drawingml/2006/table">
            <a:tbl>
              <a:tblPr firstRow="1" bandRow="1">
                <a:tableStyleId>{35758FB7-9AC5-4552-8A53-C91805E547FA}</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a:t>PostgreSQL (with extensions)</a:t>
                      </a:r>
                    </a:p>
                  </a:txBody>
                  <a:tcPr marL="28046" marR="28046" marT="14023" marB="14023" anchor="ctr"/>
                </a:tc>
                <a:tc>
                  <a:txBody>
                    <a:bodyPr/>
                    <a:lstStyle/>
                    <a:p>
                      <a:r>
                        <a:rPr lang="de-DE" sz="900"/>
                        <a:t>SharePoint Online</a:t>
                      </a:r>
                    </a:p>
                  </a:txBody>
                  <a:tcPr marL="28046" marR="28046" marT="14023" marB="14023" anchor="ctr"/>
                </a:tc>
                <a:extLst>
                  <a:ext uri="{0D108BD9-81ED-4DB2-BD59-A6C34878D82A}">
                    <a16:rowId xmlns:a16="http://schemas.microsoft.com/office/drawing/2014/main" val="10000"/>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a:t>varbinary(max), varbinary, image, blob, nvarchar(max), varchar(max) </a:t>
                      </a:r>
                      <a:r>
                        <a:rPr lang="ja-JP" altLang="en-US" sz="900"/>
                        <a:t>など</a:t>
                      </a:r>
                    </a:p>
                  </a:txBody>
                  <a:tcPr marL="28046" marR="28046" marT="14023" marB="14023" anchor="ctr"/>
                </a:tc>
                <a:tc>
                  <a:txBody>
                    <a:bodyPr/>
                    <a:lstStyle/>
                    <a:p>
                      <a:r>
                        <a:rPr lang="ja-JP" altLang="en-US" sz="900"/>
                        <a:t>ファイル </a:t>
                      </a:r>
                      <a:r>
                        <a:rPr lang="en-US" altLang="ja-JP" sz="900"/>
                        <a:t>(File) </a:t>
                      </a:r>
                      <a:r>
                        <a:rPr lang="ja-JP" altLang="en-US" sz="900"/>
                        <a:t>データ型</a:t>
                      </a:r>
                    </a:p>
                  </a:txBody>
                  <a:tcPr marL="28046" marR="28046" marT="14023" marB="14023" anchor="ctr"/>
                </a:tc>
                <a:tc>
                  <a:txBody>
                    <a:bodyPr/>
                    <a:lstStyle/>
                    <a:p>
                      <a:r>
                        <a:rPr lang="de-DE" sz="900"/>
                        <a:t>bytea</a:t>
                      </a:r>
                    </a:p>
                  </a:txBody>
                  <a:tcPr marL="28046" marR="28046" marT="14023" marB="14023" anchor="ctr"/>
                </a:tc>
                <a:tc>
                  <a:txBody>
                    <a:bodyPr/>
                    <a:lstStyle/>
                    <a:p>
                      <a:r>
                        <a:rPr lang="ja-JP" altLang="en-US" sz="900"/>
                        <a:t>バイナリ </a:t>
                      </a:r>
                      <a:r>
                        <a:rPr lang="en-US" altLang="ja-JP" sz="900"/>
                        <a:t>(Binary) </a:t>
                      </a:r>
                      <a:r>
                        <a:rPr lang="ja-JP" altLang="en-US" sz="90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a:t>300MB (</a:t>
                      </a:r>
                      <a:r>
                        <a:rPr lang="ja-JP" altLang="en-US" sz="900"/>
                        <a:t>レコードあたり</a:t>
                      </a:r>
                      <a:r>
                        <a:rPr lang="en-US" altLang="ja-JP" sz="900"/>
                        <a:t>)</a:t>
                      </a:r>
                    </a:p>
                  </a:txBody>
                  <a:tcPr marL="28046" marR="28046" marT="14023" marB="14023" anchor="ctr"/>
                </a:tc>
                <a:tc>
                  <a:txBody>
                    <a:bodyPr/>
                    <a:lstStyle/>
                    <a:p>
                      <a:r>
                        <a:rPr lang="ja-JP" altLang="en-US" sz="900"/>
                        <a:t>データベース</a:t>
                      </a:r>
                      <a:r>
                        <a:rPr lang="en-US" altLang="ja-JP" sz="900"/>
                        <a:t>/</a:t>
                      </a:r>
                      <a:r>
                        <a:rPr lang="ja-JP" altLang="en-US" sz="900"/>
                        <a:t>サーバー設定に依存 </a:t>
                      </a:r>
                      <a:r>
                        <a:rPr lang="en-US" altLang="ja-JP" sz="900"/>
                        <a:t>(</a:t>
                      </a:r>
                      <a:r>
                        <a:rPr lang="ja-JP" altLang="en-US" sz="900"/>
                        <a:t>一般的に大きい</a:t>
                      </a:r>
                      <a:r>
                        <a:rPr lang="en-US" altLang="ja-JP" sz="90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a:t>はい</a:t>
                      </a:r>
                      <a:r>
                        <a:rPr lang="ja-JP" altLang="en-US" sz="900"/>
                        <a:t> </a:t>
                      </a:r>
                      <a:r>
                        <a:rPr lang="en-US" altLang="ja-JP" sz="900"/>
                        <a:t>(</a:t>
                      </a:r>
                      <a:r>
                        <a:rPr lang="en-US" altLang="ja-JP" sz="900" err="1"/>
                        <a:t>pg_trgm</a:t>
                      </a:r>
                      <a:r>
                        <a:rPr lang="en-US" altLang="ja-JP" sz="900"/>
                        <a:t> </a:t>
                      </a:r>
                      <a:r>
                        <a:rPr lang="ja-JP" altLang="en-US" sz="900"/>
                        <a:t>拡張など</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a:t>
                      </a:r>
                      <a:r>
                        <a:rPr lang="en-US" altLang="ja-JP" sz="900"/>
                        <a:t>)</a:t>
                      </a:r>
                    </a:p>
                  </a:txBody>
                  <a:tcPr marL="28046" marR="28046" marT="14023" marB="14023" anchor="ctr"/>
                </a:tc>
                <a:extLst>
                  <a:ext uri="{0D108BD9-81ED-4DB2-BD59-A6C34878D82A}">
                    <a16:rowId xmlns:a16="http://schemas.microsoft.com/office/drawing/2014/main" val="10003"/>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ja-JP" altLang="en-US" sz="900"/>
                        <a:t>メタデータ検索、ファイルプロパティ検索</a:t>
                      </a:r>
                      <a:r>
                        <a:rPr lang="en-US" altLang="ja-JP" sz="900"/>
                        <a:t>)</a:t>
                      </a:r>
                    </a:p>
                  </a:txBody>
                  <a:tcPr marL="28046" marR="28046" marT="14023" marB="14023" anchor="ctr"/>
                </a:tc>
                <a:extLst>
                  <a:ext uri="{0D108BD9-81ED-4DB2-BD59-A6C34878D82A}">
                    <a16:rowId xmlns:a16="http://schemas.microsoft.com/office/drawing/2014/main" val="10005"/>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6"/>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7"/>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10008"/>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Autofit/>
          </a:bodyPr>
          <a:lstStyle/>
          <a:p>
            <a:r>
              <a:rPr lang="ja-JP" altLang="en-US" dirty="0"/>
              <a:t>実現方法－ 検索機能２</a:t>
            </a:r>
          </a:p>
        </p:txBody>
      </p:sp>
      <p:sp>
        <p:nvSpPr>
          <p:cNvPr id="15" name="テキスト ボックス 14"/>
          <p:cNvSpPr txBox="1"/>
          <p:nvPr/>
        </p:nvSpPr>
        <p:spPr>
          <a:xfrm>
            <a:off x="414337" y="814891"/>
            <a:ext cx="7764464"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を利用。</a:t>
            </a:r>
            <a:endParaRPr kumimoji="0" lang="en-US" altLang="ja-JP" sz="1400" dirty="0">
              <a:latin typeface="DengXian 本文"/>
            </a:endParaRPr>
          </a:p>
          <a:p>
            <a:pPr marL="342900" indent="-342900">
              <a:buFont typeface="+mj-lt"/>
              <a:buAutoNum type="arabicPeriod"/>
            </a:pPr>
            <a:r>
              <a:rPr lang="en-US" altLang="ja-JP" sz="1200" b="1" dirty="0"/>
              <a:t>Azure AD </a:t>
            </a:r>
            <a:r>
              <a:rPr lang="ja-JP" altLang="en-US" sz="1200" b="1" dirty="0"/>
              <a:t>アプリケーションの登録と権限設定</a:t>
            </a:r>
            <a:r>
              <a:rPr lang="en-US" altLang="ja-JP" sz="1200" b="1" dirty="0"/>
              <a:t>:</a:t>
            </a:r>
            <a:endParaRPr lang="ja-JP" altLang="en-US" sz="1200" dirty="0"/>
          </a:p>
          <a:p>
            <a:pPr lvl="1"/>
            <a:r>
              <a:rPr lang="en-US" altLang="ja-JP" sz="1050" dirty="0"/>
              <a:t>Azure AD </a:t>
            </a:r>
            <a:r>
              <a:rPr lang="ja-JP" altLang="en-US" sz="1050" dirty="0"/>
              <a:t>にアプリケーションを登録し、必要な </a:t>
            </a:r>
            <a:r>
              <a:rPr lang="en-US" altLang="ja-JP" sz="1050" dirty="0"/>
              <a:t>Graph API </a:t>
            </a:r>
            <a:r>
              <a:rPr lang="ja-JP" altLang="en-US" sz="1050" dirty="0"/>
              <a:t>のアクセス許可を付与します。</a:t>
            </a:r>
          </a:p>
          <a:p>
            <a:pPr lvl="1"/>
            <a:r>
              <a:rPr lang="ja-JP" altLang="en-US" sz="1050" dirty="0"/>
              <a:t>アプリケーション </a:t>
            </a:r>
            <a:r>
              <a:rPr lang="en-US" altLang="ja-JP" sz="1050" dirty="0"/>
              <a:t>ID (</a:t>
            </a:r>
            <a:r>
              <a:rPr lang="ja-JP" altLang="en-US" sz="1050" dirty="0"/>
              <a:t>クライアント </a:t>
            </a:r>
            <a:r>
              <a:rPr lang="en-US" altLang="ja-JP" sz="1050" dirty="0"/>
              <a:t>ID) </a:t>
            </a:r>
            <a:r>
              <a:rPr lang="ja-JP" altLang="en-US" sz="1050" dirty="0"/>
              <a:t>と、</a:t>
            </a:r>
            <a:r>
              <a:rPr lang="ja-JP" altLang="en-US" sz="1050" b="1" dirty="0"/>
              <a:t>クライアントシークレット</a:t>
            </a:r>
            <a:r>
              <a:rPr lang="ja-JP" altLang="en-US" sz="1050" dirty="0"/>
              <a:t> または </a:t>
            </a:r>
            <a:r>
              <a:rPr lang="ja-JP" altLang="en-US" sz="1050" b="1" dirty="0"/>
              <a:t>証明書</a:t>
            </a:r>
            <a:r>
              <a:rPr lang="ja-JP" altLang="en-US" sz="1050" dirty="0"/>
              <a:t> を取得し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05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Files.Read.All</a:t>
            </a:r>
            <a:r>
              <a:rPr kumimoji="0" lang="ja-JP" altLang="ja-JP" sz="105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Sites.Read.All</a:t>
            </a:r>
            <a:r>
              <a:rPr kumimoji="0" lang="ja-JP" altLang="ja-JP" sz="105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050" dirty="0">
              <a:latin typeface="Arial" panose="020B0604020202020204" pitchFamily="34" charset="0"/>
            </a:endParaRPr>
          </a:p>
          <a:p>
            <a:pPr lvl="1" eaLnBrk="0" fontAlgn="base" hangingPunct="0">
              <a:spcBef>
                <a:spcPct val="0"/>
              </a:spcBef>
              <a:spcAft>
                <a:spcPct val="0"/>
              </a:spcAft>
            </a:pPr>
            <a:r>
              <a:rPr kumimoji="0" lang="ja-JP" altLang="ja-JP" sz="105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Power Apps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では、</a:t>
            </a:r>
            <a:r>
              <a:rPr kumimoji="0" lang="ja-JP" altLang="ja-JP" sz="1050" b="1" dirty="0">
                <a:latin typeface="Arial" panose="020B0604020202020204" pitchFamily="34" charset="0"/>
              </a:rPr>
              <a:t>カスタムコネクタ</a:t>
            </a:r>
            <a:r>
              <a:rPr kumimoji="0" lang="ja-JP" altLang="ja-JP" sz="105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Graph API の検索エンドポイント（例: </a:t>
            </a:r>
            <a:r>
              <a:rPr kumimoji="0" lang="ja-JP" altLang="ja-JP" sz="1050" dirty="0">
                <a:latin typeface="Arial Unicode MS"/>
              </a:rPr>
              <a:t>https://graph.microsoft.com/v1.0/sites/{site-id}/drive/root/search(q='{search-query}')</a:t>
            </a:r>
            <a:r>
              <a:rPr kumimoji="0" lang="ja-JP" altLang="ja-JP" sz="1050" dirty="0"/>
              <a:t>）を呼び出すアクションを定義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特定のドキュメントライブラリを限定するには、</a:t>
            </a:r>
            <a:r>
              <a:rPr kumimoji="0" lang="ja-JP" altLang="ja-JP" sz="1050" dirty="0">
                <a:latin typeface="Arial Unicode MS"/>
              </a:rPr>
              <a:t>site-id</a:t>
            </a:r>
            <a:r>
              <a:rPr kumimoji="0" lang="ja-JP" altLang="ja-JP" sz="1050" dirty="0"/>
              <a:t> を指定するか、検索クエリ (</a:t>
            </a:r>
            <a:r>
              <a:rPr kumimoji="0" lang="ja-JP" altLang="ja-JP" sz="1050" dirty="0">
                <a:latin typeface="Arial Unicode MS"/>
              </a:rPr>
              <a:t>q</a:t>
            </a:r>
            <a:r>
              <a:rPr kumimoji="0" lang="ja-JP" altLang="ja-JP" sz="1050" dirty="0"/>
              <a:t>) にドキュメントライブラリ名やパスを含めるなどの工夫が必要になります。Graph API の検索機能は、</a:t>
            </a:r>
            <a:r>
              <a:rPr kumimoji="0" lang="ja-JP" altLang="ja-JP" sz="1050" dirty="0">
                <a:latin typeface="Arial Unicode MS"/>
              </a:rPr>
              <a:t>search</a:t>
            </a:r>
            <a:r>
              <a:rPr kumimoji="0" lang="ja-JP" altLang="ja-JP" sz="1050" dirty="0"/>
              <a:t> クエリパラメータで詳細なフィルタリングをサポートしています。例えば、</a:t>
            </a:r>
            <a:r>
              <a:rPr kumimoji="0" lang="ja-JP" altLang="ja-JP" sz="1050" dirty="0">
                <a:latin typeface="Arial Unicode MS"/>
              </a:rPr>
              <a:t>search(q='keyword in:Shared Documents')</a:t>
            </a:r>
            <a:r>
              <a:rPr kumimoji="0" lang="ja-JP" altLang="ja-JP" sz="1050" dirty="0"/>
              <a:t> のように、特定のフォルダを指定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2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200" b="1" dirty="0">
                <a:latin typeface="Arial" panose="020B0604020202020204" pitchFamily="34" charset="0"/>
              </a:rPr>
              <a:t>Power Automate Flow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utomate では、</a:t>
            </a:r>
            <a:r>
              <a:rPr kumimoji="0" lang="ja-JP" altLang="ja-JP" sz="1050" b="1" dirty="0">
                <a:latin typeface="Arial" panose="020B0604020202020204" pitchFamily="34" charset="0"/>
              </a:rPr>
              <a:t>HTTP アクション</a:t>
            </a:r>
            <a:r>
              <a:rPr kumimoji="0" lang="ja-JP" altLang="ja-JP" sz="105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HTTP アクションの設定で、HTTP メソッドを </a:t>
            </a:r>
            <a:r>
              <a:rPr kumimoji="0" lang="ja-JP" altLang="ja-JP" sz="1050" dirty="0">
                <a:latin typeface="Arial Unicode MS"/>
              </a:rPr>
              <a:t>GET</a:t>
            </a:r>
            <a:r>
              <a:rPr kumimoji="0" lang="ja-JP" altLang="ja-JP" sz="1050" dirty="0"/>
              <a:t> または </a:t>
            </a:r>
            <a:r>
              <a:rPr kumimoji="0" lang="ja-JP" altLang="ja-JP" sz="1050" dirty="0">
                <a:latin typeface="Arial Unicode MS"/>
              </a:rPr>
              <a:t>POST</a:t>
            </a:r>
            <a:r>
              <a:rPr kumimoji="0" lang="ja-JP" altLang="ja-JP" sz="1050" dirty="0"/>
              <a:t> に設定し、Graph API のエンドポイント URL を指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ヘッダーには </a:t>
            </a:r>
            <a:r>
              <a:rPr kumimoji="0" lang="ja-JP" altLang="ja-JP" sz="1050" dirty="0">
                <a:latin typeface="Arial Unicode MS"/>
              </a:rPr>
              <a:t>Content-Type: application/json</a:t>
            </a:r>
            <a:r>
              <a:rPr kumimoji="0" lang="ja-JP" altLang="ja-JP" sz="1050" dirty="0"/>
              <a:t> などを設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Unicode MS"/>
              </a:rPr>
              <a:t>uri</a:t>
            </a:r>
            <a:r>
              <a:rPr kumimoji="0" lang="ja-JP" altLang="ja-JP" sz="1050" dirty="0"/>
              <a:t> パラメータで検索クエリを指定し、ドキュメントライブラリを限定するための </a:t>
            </a:r>
            <a:r>
              <a:rPr kumimoji="0" lang="ja-JP" altLang="ja-JP" sz="1050" dirty="0">
                <a:latin typeface="Arial Unicode MS"/>
              </a:rPr>
              <a:t>in:</a:t>
            </a:r>
            <a:r>
              <a:rPr kumimoji="0" lang="ja-JP" altLang="ja-JP" sz="1050" dirty="0"/>
              <a:t> 演算子などを活用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取得した JSON レスポンスを解析し、必要に応じて後続のアクション（例: メール送信、SharePoint リストへの記録など）を実行します。</a:t>
            </a:r>
          </a:p>
        </p:txBody>
      </p:sp>
      <p:pic>
        <p:nvPicPr>
          <p:cNvPr id="2050" name="Picture 2" descr="Microsoft Graph API - Cyderes Documentation">
            <a:extLst>
              <a:ext uri="{FF2B5EF4-FFF2-40B4-BE49-F238E27FC236}">
                <a16:creationId xmlns:a16="http://schemas.microsoft.com/office/drawing/2014/main" id="{43295ADE-FC47-FFA1-997D-4CE580DDFC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7559" y="2879621"/>
            <a:ext cx="1437641" cy="718821"/>
          </a:xfrm>
          <a:prstGeom prst="rect">
            <a:avLst/>
          </a:prstGeom>
          <a:noFill/>
          <a:extLst>
            <a:ext uri="{909E8E84-426E-40DD-AFC4-6F175D3DCCD1}">
              <a14:hiddenFill xmlns:a14="http://schemas.microsoft.com/office/drawing/2010/main">
                <a:solidFill>
                  <a:srgbClr val="FFFFFF"/>
                </a:solidFill>
              </a14:hiddenFill>
            </a:ext>
          </a:extLst>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2386FB-898C-0717-BDB7-73A999872525}"/>
              </a:ext>
            </a:extLst>
          </p:cNvPr>
          <p:cNvPicPr>
            <a:picLocks noGrp="1"/>
          </p:cNvPicPr>
          <p:nvPr>
            <p:ph sz="quarter" idx="10"/>
          </p:nvPr>
        </p:nvPicPr>
        <p:blipFill>
          <a:blip r:embed="rId4"/>
          <a:stretch>
            <a:fillRect/>
          </a:stretch>
        </p:blipFill>
        <p:spPr>
          <a:xfrm>
            <a:off x="9090656" y="941625"/>
            <a:ext cx="1084608" cy="623650"/>
          </a:xfrm>
        </p:spPr>
      </p:pic>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69F6357-5908-BEC3-1B53-CE426C0999BC}"/>
              </a:ext>
            </a:extLst>
          </p:cNvPr>
          <p:cNvPicPr/>
          <p:nvPr/>
        </p:nvPicPr>
        <p:blipFill>
          <a:blip r:embed="rId5"/>
          <a:stretch>
            <a:fillRect/>
          </a:stretch>
        </p:blipFill>
        <p:spPr>
          <a:xfrm>
            <a:off x="10791180" y="828069"/>
            <a:ext cx="934788" cy="737206"/>
          </a:xfrm>
          <a:prstGeom prst="rect">
            <a:avLst/>
          </a:prstGeom>
        </p:spPr>
      </p:pic>
      <p:pic>
        <p:nvPicPr>
          <p:cNvPr id="5" name="図 4" descr="ロゴ, アイコン&#10;&#10;AI によって生成されたコンテンツは間違っている可能性があります。">
            <a:extLst>
              <a:ext uri="{FF2B5EF4-FFF2-40B4-BE49-F238E27FC236}">
                <a16:creationId xmlns:a16="http://schemas.microsoft.com/office/drawing/2014/main" id="{CD476A42-664A-A687-6190-EEA8F871DBF0}"/>
              </a:ext>
            </a:extLst>
          </p:cNvPr>
          <p:cNvPicPr/>
          <p:nvPr/>
        </p:nvPicPr>
        <p:blipFill>
          <a:blip r:embed="rId6"/>
          <a:stretch>
            <a:fillRect/>
          </a:stretch>
        </p:blipFill>
        <p:spPr>
          <a:xfrm>
            <a:off x="8336472" y="2928006"/>
            <a:ext cx="643597" cy="629116"/>
          </a:xfrm>
          <a:prstGeom prst="rect">
            <a:avLst/>
          </a:prstGeom>
        </p:spPr>
      </p:pic>
      <p:sp>
        <p:nvSpPr>
          <p:cNvPr id="6" name="正方形/長方形 5">
            <a:extLst>
              <a:ext uri="{FF2B5EF4-FFF2-40B4-BE49-F238E27FC236}">
                <a16:creationId xmlns:a16="http://schemas.microsoft.com/office/drawing/2014/main" id="{178FCCE8-4792-2D25-DA6F-82A527D5F1FA}"/>
              </a:ext>
            </a:extLst>
          </p:cNvPr>
          <p:cNvSpPr/>
          <p:nvPr/>
        </p:nvSpPr>
        <p:spPr>
          <a:xfrm>
            <a:off x="9632959" y="2007933"/>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検索条件整備</a:t>
            </a:r>
          </a:p>
        </p:txBody>
      </p:sp>
      <p:cxnSp>
        <p:nvCxnSpPr>
          <p:cNvPr id="9" name="直線矢印コネクタ 8">
            <a:extLst>
              <a:ext uri="{FF2B5EF4-FFF2-40B4-BE49-F238E27FC236}">
                <a16:creationId xmlns:a16="http://schemas.microsoft.com/office/drawing/2014/main" id="{309FC341-0A55-57C8-568A-ADF49AF1D0A9}"/>
              </a:ext>
            </a:extLst>
          </p:cNvPr>
          <p:cNvCxnSpPr>
            <a:cxnSpLocks/>
            <a:stCxn id="6" idx="2"/>
            <a:endCxn id="2050" idx="0"/>
          </p:cNvCxnSpPr>
          <p:nvPr/>
        </p:nvCxnSpPr>
        <p:spPr>
          <a:xfrm>
            <a:off x="10326379" y="2526093"/>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6130295-4BA5-2BD7-6A42-E8D957747847}"/>
              </a:ext>
            </a:extLst>
          </p:cNvPr>
          <p:cNvSpPr/>
          <p:nvPr/>
        </p:nvSpPr>
        <p:spPr>
          <a:xfrm>
            <a:off x="9632959" y="3951970"/>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保存</a:t>
            </a:r>
            <a:r>
              <a:rPr kumimoji="1" lang="en-US" altLang="ja-JP" sz="1100" dirty="0"/>
              <a:t>Site</a:t>
            </a:r>
            <a:r>
              <a:rPr kumimoji="1" lang="ja-JP" altLang="en-US" sz="1100" dirty="0"/>
              <a:t>であるかどうかで</a:t>
            </a:r>
            <a:r>
              <a:rPr kumimoji="1" lang="en-US" altLang="ja-JP" sz="1100" dirty="0"/>
              <a:t>Filter</a:t>
            </a:r>
            <a:endParaRPr kumimoji="1" lang="ja-JP" altLang="en-US" sz="1100" dirty="0"/>
          </a:p>
        </p:txBody>
      </p:sp>
      <p:cxnSp>
        <p:nvCxnSpPr>
          <p:cNvPr id="12" name="直線矢印コネクタ 11">
            <a:extLst>
              <a:ext uri="{FF2B5EF4-FFF2-40B4-BE49-F238E27FC236}">
                <a16:creationId xmlns:a16="http://schemas.microsoft.com/office/drawing/2014/main" id="{BEB9D20D-36A3-33BF-2564-ACAC6A4335A0}"/>
              </a:ext>
            </a:extLst>
          </p:cNvPr>
          <p:cNvCxnSpPr>
            <a:cxnSpLocks/>
            <a:stCxn id="5" idx="3"/>
          </p:cNvCxnSpPr>
          <p:nvPr/>
        </p:nvCxnSpPr>
        <p:spPr>
          <a:xfrm>
            <a:off x="8980069" y="3242564"/>
            <a:ext cx="625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CE75689F-796A-9AA2-93B7-9CAA7765CEC1}"/>
              </a:ext>
            </a:extLst>
          </p:cNvPr>
          <p:cNvSpPr/>
          <p:nvPr/>
        </p:nvSpPr>
        <p:spPr>
          <a:xfrm>
            <a:off x="9632959" y="4823658"/>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ja-JP" sz="1100" dirty="0"/>
              <a:t>PowerApps</a:t>
            </a:r>
            <a:r>
              <a:rPr lang="ja-JP" altLang="en-US" sz="1100" dirty="0"/>
              <a:t>へ表示</a:t>
            </a:r>
          </a:p>
        </p:txBody>
      </p:sp>
      <p:pic>
        <p:nvPicPr>
          <p:cNvPr id="20"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36492227-8BCD-FE3A-26B9-76411D651CEA}"/>
              </a:ext>
            </a:extLst>
          </p:cNvPr>
          <p:cNvPicPr>
            <a:picLocks/>
          </p:cNvPicPr>
          <p:nvPr/>
        </p:nvPicPr>
        <p:blipFill>
          <a:blip r:embed="rId4"/>
          <a:stretch>
            <a:fillRect/>
          </a:stretch>
        </p:blipFill>
        <p:spPr>
          <a:xfrm>
            <a:off x="9784075" y="5695346"/>
            <a:ext cx="1084608" cy="623650"/>
          </a:xfrm>
          <a:prstGeom prst="rect">
            <a:avLst/>
          </a:prstGeom>
        </p:spPr>
      </p:pic>
      <p:cxnSp>
        <p:nvCxnSpPr>
          <p:cNvPr id="22" name="コネクタ: カギ線 21">
            <a:extLst>
              <a:ext uri="{FF2B5EF4-FFF2-40B4-BE49-F238E27FC236}">
                <a16:creationId xmlns:a16="http://schemas.microsoft.com/office/drawing/2014/main" id="{A514F95F-2C0F-795C-1F2C-4D0E58CD9B08}"/>
              </a:ext>
            </a:extLst>
          </p:cNvPr>
          <p:cNvCxnSpPr>
            <a:stCxn id="4" idx="2"/>
            <a:endCxn id="6" idx="0"/>
          </p:cNvCxnSpPr>
          <p:nvPr/>
        </p:nvCxnSpPr>
        <p:spPr>
          <a:xfrm rot="5400000">
            <a:off x="10571148" y="1320507"/>
            <a:ext cx="442658" cy="93219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FA57C126-002E-5304-45D5-EE9FBE4FD342}"/>
              </a:ext>
            </a:extLst>
          </p:cNvPr>
          <p:cNvCxnSpPr>
            <a:cxnSpLocks/>
            <a:stCxn id="2050" idx="2"/>
            <a:endCxn id="11" idx="0"/>
          </p:cNvCxnSpPr>
          <p:nvPr/>
        </p:nvCxnSpPr>
        <p:spPr>
          <a:xfrm flipH="1">
            <a:off x="10326379" y="3598442"/>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B680A17E-0D76-24FF-D1DF-F363484CC77C}"/>
              </a:ext>
            </a:extLst>
          </p:cNvPr>
          <p:cNvCxnSpPr>
            <a:cxnSpLocks/>
            <a:stCxn id="11" idx="2"/>
          </p:cNvCxnSpPr>
          <p:nvPr/>
        </p:nvCxnSpPr>
        <p:spPr>
          <a:xfrm>
            <a:off x="10326379" y="4470130"/>
            <a:ext cx="0" cy="353528"/>
          </a:xfrm>
          <a:prstGeom prst="straightConnector1">
            <a:avLst/>
          </a:prstGeom>
          <a:ln>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6F6993E4-A9A6-94E1-A556-126067F85DA0}"/>
              </a:ext>
            </a:extLst>
          </p:cNvPr>
          <p:cNvCxnSpPr>
            <a:cxnSpLocks/>
            <a:stCxn id="3" idx="2"/>
            <a:endCxn id="6" idx="0"/>
          </p:cNvCxnSpPr>
          <p:nvPr/>
        </p:nvCxnSpPr>
        <p:spPr>
          <a:xfrm rot="16200000" flipH="1">
            <a:off x="9758340" y="1439894"/>
            <a:ext cx="442658" cy="69341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95FF30D-DB80-CB33-286A-0ECBEC243CDB}"/>
              </a:ext>
            </a:extLst>
          </p:cNvPr>
          <p:cNvCxnSpPr>
            <a:cxnSpLocks/>
            <a:endCxn id="20" idx="0"/>
          </p:cNvCxnSpPr>
          <p:nvPr/>
        </p:nvCxnSpPr>
        <p:spPr>
          <a:xfrm>
            <a:off x="10326379" y="5307562"/>
            <a:ext cx="0" cy="38778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書類 38">
            <a:extLst>
              <a:ext uri="{FF2B5EF4-FFF2-40B4-BE49-F238E27FC236}">
                <a16:creationId xmlns:a16="http://schemas.microsoft.com/office/drawing/2014/main" id="{617DB24C-6360-A48E-3E41-4A96593FC94F}"/>
              </a:ext>
            </a:extLst>
          </p:cNvPr>
          <p:cNvSpPr/>
          <p:nvPr/>
        </p:nvSpPr>
        <p:spPr>
          <a:xfrm>
            <a:off x="8347719" y="4424194"/>
            <a:ext cx="619809" cy="365760"/>
          </a:xfrm>
          <a:prstGeom prst="flowChartDocumen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ja-JP" altLang="en-US" sz="1100" dirty="0"/>
              <a:t>表示用結果</a:t>
            </a:r>
          </a:p>
        </p:txBody>
      </p:sp>
      <p:cxnSp>
        <p:nvCxnSpPr>
          <p:cNvPr id="40" name="コネクタ: カギ線 39">
            <a:extLst>
              <a:ext uri="{FF2B5EF4-FFF2-40B4-BE49-F238E27FC236}">
                <a16:creationId xmlns:a16="http://schemas.microsoft.com/office/drawing/2014/main" id="{BD20209A-CAB3-3DB2-13C7-8449EC82A657}"/>
              </a:ext>
            </a:extLst>
          </p:cNvPr>
          <p:cNvCxnSpPr>
            <a:cxnSpLocks/>
            <a:stCxn id="11" idx="1"/>
            <a:endCxn id="39" idx="0"/>
          </p:cNvCxnSpPr>
          <p:nvPr/>
        </p:nvCxnSpPr>
        <p:spPr>
          <a:xfrm rot="10800000" flipV="1">
            <a:off x="8657625" y="4211050"/>
            <a:ext cx="975335" cy="21314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F3370940-4D84-9F8D-5781-4C738154AA47}"/>
              </a:ext>
            </a:extLst>
          </p:cNvPr>
          <p:cNvCxnSpPr>
            <a:cxnSpLocks/>
            <a:stCxn id="39" idx="2"/>
            <a:endCxn id="19" idx="1"/>
          </p:cNvCxnSpPr>
          <p:nvPr/>
        </p:nvCxnSpPr>
        <p:spPr>
          <a:xfrm rot="16200000" flipH="1">
            <a:off x="8986809" y="4436587"/>
            <a:ext cx="316965" cy="975335"/>
          </a:xfrm>
          <a:prstGeom prst="bentConnector2">
            <a:avLst/>
          </a:prstGeom>
          <a:ln>
            <a:prstDash val="sysDash"/>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37A1C8A-CE1F-BE36-7865-1CB2C53DCC46}"/>
              </a:ext>
            </a:extLst>
          </p:cNvPr>
          <p:cNvSpPr txBox="1"/>
          <p:nvPr/>
        </p:nvSpPr>
        <p:spPr>
          <a:xfrm>
            <a:off x="10377301" y="2526093"/>
            <a:ext cx="1608171" cy="523220"/>
          </a:xfrm>
          <a:prstGeom prst="rect">
            <a:avLst/>
          </a:prstGeom>
          <a:noFill/>
        </p:spPr>
        <p:txBody>
          <a:bodyPr wrap="square" rtlCol="0">
            <a:spAutoFit/>
          </a:bodyPr>
          <a:lstStyle/>
          <a:p>
            <a:r>
              <a:rPr kumimoji="1" lang="en-US" altLang="zh-CN" sz="700" b="1" dirty="0"/>
              <a:t>Send Http Request Sequence</a:t>
            </a:r>
          </a:p>
          <a:p>
            <a:pPr marL="228600" indent="-228600">
              <a:buFont typeface="+mj-lt"/>
              <a:buAutoNum type="arabicPeriod"/>
            </a:pPr>
            <a:r>
              <a:rPr lang="en-US" altLang="ja-JP" sz="700" dirty="0"/>
              <a:t>Auth</a:t>
            </a:r>
          </a:p>
          <a:p>
            <a:pPr marL="228600" indent="-228600">
              <a:buFont typeface="+mj-lt"/>
              <a:buAutoNum type="arabicPeriod"/>
            </a:pPr>
            <a:r>
              <a:rPr kumimoji="1" lang="en-US" altLang="zh-CN" sz="700" dirty="0"/>
              <a:t>Get token</a:t>
            </a:r>
          </a:p>
          <a:p>
            <a:pPr marL="228600" indent="-228600">
              <a:buFont typeface="+mj-lt"/>
              <a:buAutoNum type="arabicPeriod"/>
            </a:pPr>
            <a:r>
              <a:rPr lang="en-US" altLang="zh-CN" sz="700" dirty="0"/>
              <a:t>Send Request</a:t>
            </a:r>
            <a:endParaRPr kumimoji="1" lang="ja-JP" altLang="en-US" sz="7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パフォーマンス最適化と運用</a:t>
            </a:r>
            <a:endParaRPr lang="ja-JP" altLang="en-US" dirty="0">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データアクセス: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SQL Serverのクエリ最適化（インデックス、ストアドプロシージャ使用）。</a:t>
            </a:r>
            <a:endParaRPr kumimoji="0" lang="en-US" altLang="zh-CN" sz="160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ファイル扱い: </a:t>
            </a:r>
            <a:endParaRPr kumimoji="0" lang="en-US" altLang="zh-CN">
              <a:latin typeface="Arial" panose="020B0604020202020204" pitchFamily="34" charset="0"/>
            </a:endParaRPr>
          </a:p>
          <a:p>
            <a:pPr lvl="1" eaLnBrk="0" fontAlgn="base" hangingPunct="0">
              <a:spcBef>
                <a:spcPct val="0"/>
              </a:spcBef>
              <a:spcAft>
                <a:spcPct val="0"/>
              </a:spcAft>
            </a:pPr>
            <a:r>
              <a:rPr kumimoji="0" lang="zh-CN" altLang="zh-CN" sz="1600">
                <a:latin typeface="Arial" panose="020B0604020202020204" pitchFamily="34" charset="0"/>
              </a:rPr>
              <a:t>非同期ロード（PowerAppsのConcurrent関数）。大容量ファイル時はストリーミング</a:t>
            </a:r>
            <a:r>
              <a:rPr kumimoji="0" lang="zh-CN" altLang="zh-CN">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スケーラビリティ: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sz="1600"/>
              <a:t>On-premises </a:t>
            </a:r>
            <a:r>
              <a:rPr lang="en-US" altLang="ja-JP" sz="1600" err="1"/>
              <a:t>Sqlserver</a:t>
            </a:r>
            <a:r>
              <a:rPr lang="ja-JP" altLang="en-US" sz="1600"/>
              <a:t>を利用した場合、</a:t>
            </a:r>
            <a:r>
              <a:rPr lang="en-US" altLang="ja-JP" sz="1600"/>
              <a:t>30</a:t>
            </a:r>
            <a:r>
              <a:rPr lang="ja-JP" altLang="en-US" sz="1600"/>
              <a:t>分以内でサーバ</a:t>
            </a:r>
            <a:r>
              <a:rPr lang="en-US" altLang="ja-JP" sz="1600" err="1"/>
              <a:t>Down,CPU</a:t>
            </a:r>
            <a:r>
              <a:rPr lang="en-US" altLang="ja-JP" sz="1600"/>
              <a:t>/</a:t>
            </a:r>
            <a:r>
              <a:rPr lang="ja-JP" altLang="en-US" sz="1600"/>
              <a:t>メモリオプション変更、</a:t>
            </a:r>
            <a:r>
              <a:rPr lang="en-US" altLang="ja-JP" sz="1600"/>
              <a:t>Up</a:t>
            </a:r>
            <a:r>
              <a:rPr lang="ja-JP" altLang="en-US" sz="1600"/>
              <a:t>でリソース増設可能</a:t>
            </a:r>
            <a:endParaRPr lang="en-US" altLang="ja-JP" sz="1600"/>
          </a:p>
          <a:p>
            <a:pPr marL="285750" lvl="0" indent="-285750" eaLnBrk="0" fontAlgn="base" hangingPunct="0">
              <a:spcBef>
                <a:spcPct val="0"/>
              </a:spcBef>
              <a:spcAft>
                <a:spcPct val="0"/>
              </a:spcAft>
              <a:buFont typeface="Arial" panose="020B0604020202020204" pitchFamily="34" charset="0"/>
              <a:buChar char="•"/>
            </a:pPr>
            <a:r>
              <a:rPr lang="ja-JP" altLang="en-US"/>
              <a:t>高可用性</a:t>
            </a:r>
            <a:r>
              <a:rPr lang="zh-CN" altLang="en-US"/>
              <a:t>（</a:t>
            </a:r>
            <a:r>
              <a:rPr lang="en-US" altLang="zh-CN"/>
              <a:t>HA</a:t>
            </a:r>
            <a:r>
              <a:rPr lang="zh-CN" altLang="en-US"/>
              <a:t>）：</a:t>
            </a:r>
            <a:r>
              <a:rPr lang="en-US" altLang="zh-CN" err="1"/>
              <a:t>Sqlserver</a:t>
            </a:r>
            <a:r>
              <a:rPr lang="ja-JP" altLang="en-US"/>
              <a:t>は</a:t>
            </a:r>
            <a:r>
              <a:rPr lang="en-US" altLang="ja-JP"/>
              <a:t>Cloud</a:t>
            </a:r>
            <a:r>
              <a:rPr lang="ja-JP" altLang="en-US"/>
              <a:t>（</a:t>
            </a:r>
            <a:r>
              <a:rPr lang="en-US" altLang="ja-JP"/>
              <a:t>Vesta</a:t>
            </a:r>
            <a:r>
              <a:rPr lang="ja-JP" altLang="en-US"/>
              <a:t>と同様</a:t>
            </a:r>
            <a:r>
              <a:rPr lang="en-US" altLang="ja-JP"/>
              <a:t>AWS</a:t>
            </a:r>
            <a:r>
              <a:rPr lang="ja-JP" altLang="en-US"/>
              <a:t>に置くと想定）に置き、</a:t>
            </a:r>
            <a:r>
              <a:rPr lang="en-US" altLang="ja-JP"/>
              <a:t>AWS</a:t>
            </a:r>
            <a:r>
              <a:rPr lang="ja-JP" altLang="en-US"/>
              <a:t>のリージョン・</a:t>
            </a:r>
            <a:r>
              <a:rPr lang="ja-JP" altLang="en-US" sz="1600"/>
              <a:t>アベイラビリティゾーンを活用した冗長化および、</a:t>
            </a:r>
            <a:r>
              <a:rPr lang="en-US" altLang="ja-JP" sz="1600"/>
              <a:t>EC2</a:t>
            </a:r>
            <a:r>
              <a:rPr lang="ja-JP" altLang="en-US" sz="1600"/>
              <a:t>インスタンスの自動復旧機能を活用</a:t>
            </a:r>
            <a:endParaRPr lang="en-US" altLang="ja-JP" sz="1600"/>
          </a:p>
          <a:p>
            <a:pPr marL="742950" lvl="1" indent="-285750" eaLnBrk="0" fontAlgn="base" hangingPunct="0">
              <a:spcBef>
                <a:spcPct val="0"/>
              </a:spcBef>
              <a:spcAft>
                <a:spcPct val="0"/>
              </a:spcAft>
              <a:buFont typeface="Arial" panose="020B0604020202020204" pitchFamily="34" charset="0"/>
              <a:buChar char="•"/>
            </a:pPr>
            <a:r>
              <a:rPr lang="ja-JP" altLang="en-US" sz="1400"/>
              <a:t>リージョン・アベイラビリティゾーンを活用した冗長化</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ja-JP" altLang="en-US" sz="1400"/>
              <a:t>マルチ</a:t>
            </a:r>
            <a:r>
              <a:rPr lang="de-DE" altLang="ja-JP" sz="1400"/>
              <a:t>AZ</a:t>
            </a:r>
            <a:r>
              <a:rPr lang="ja-JP" altLang="en-US" sz="1400"/>
              <a:t>構成 </a:t>
            </a:r>
            <a:r>
              <a:rPr lang="en-US" altLang="ja-JP" sz="1400"/>
              <a:t>(</a:t>
            </a:r>
            <a:r>
              <a:rPr lang="de-DE" altLang="ja-JP" sz="1400"/>
              <a:t>Multi-AZ)</a:t>
            </a:r>
          </a:p>
          <a:p>
            <a:pPr marL="1200150" lvl="2" indent="-285750" eaLnBrk="0" fontAlgn="base" hangingPunct="0">
              <a:spcBef>
                <a:spcPct val="0"/>
              </a:spcBef>
              <a:spcAft>
                <a:spcPct val="0"/>
              </a:spcAft>
              <a:buFont typeface="Arial" panose="020B0604020202020204" pitchFamily="34" charset="0"/>
              <a:buChar char="•"/>
            </a:pPr>
            <a:r>
              <a:rPr lang="ja-JP" altLang="en-US" sz="1400"/>
              <a:t>マルチリージョン構成 </a:t>
            </a:r>
            <a:r>
              <a:rPr lang="en-US" altLang="ja-JP" sz="1400"/>
              <a:t>(Multi-Region)</a:t>
            </a:r>
          </a:p>
          <a:p>
            <a:pPr marL="742950" lvl="1" indent="-285750" eaLnBrk="0" fontAlgn="base" hangingPunct="0">
              <a:spcBef>
                <a:spcPct val="0"/>
              </a:spcBef>
              <a:spcAft>
                <a:spcPct val="0"/>
              </a:spcAft>
              <a:buFont typeface="Arial" panose="020B0604020202020204" pitchFamily="34" charset="0"/>
              <a:buChar char="•"/>
            </a:pPr>
            <a:r>
              <a:rPr lang="en-US" altLang="ja-JP" sz="1400"/>
              <a:t>EC2</a:t>
            </a:r>
            <a:r>
              <a:rPr lang="ja-JP" altLang="en-US" sz="1400"/>
              <a:t>インスタンスの自動復旧機能</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de-DE" altLang="ja-JP" sz="1400"/>
              <a:t>EC2 Auto Recovery</a:t>
            </a:r>
          </a:p>
          <a:p>
            <a:pPr marL="742950" lvl="1" indent="-285750" eaLnBrk="0" fontAlgn="base" hangingPunct="0">
              <a:spcBef>
                <a:spcPct val="0"/>
              </a:spcBef>
              <a:spcAft>
                <a:spcPct val="0"/>
              </a:spcAft>
              <a:buFont typeface="Arial" panose="020B0604020202020204" pitchFamily="34" charset="0"/>
              <a:buChar char="•"/>
            </a:pPr>
            <a:r>
              <a:rPr lang="ja-JP" altLang="en-US" sz="1400"/>
              <a:t>クラスタリングソフトウェアによる高可用性構成</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en-US" altLang="ja-JP" sz="1400"/>
              <a:t>HA</a:t>
            </a:r>
            <a:r>
              <a:rPr lang="ja-JP" altLang="en-US" sz="1400"/>
              <a:t>クラスタリングソフトウェア</a:t>
            </a:r>
            <a:endParaRPr kumimoji="0" lang="en-US" altLang="zh-CN" sz="140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監視: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テスト: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負荷テスト（例: 同時100ユーザーアクセス</a:t>
            </a:r>
            <a:r>
              <a:rPr kumimoji="0" lang="zh-CN" altLang="en-US" sz="1600">
                <a:latin typeface="Arial" panose="020B0604020202020204" pitchFamily="34" charset="0"/>
              </a:rPr>
              <a:t>，</a:t>
            </a:r>
            <a:r>
              <a:rPr kumimoji="0" lang="en-US" altLang="zh-CN" sz="1600">
                <a:latin typeface="Arial" panose="020B0604020202020204" pitchFamily="34" charset="0"/>
              </a:rPr>
              <a:t>Max 20000 </a:t>
            </a:r>
            <a:r>
              <a:rPr kumimoji="0" lang="ja-JP" altLang="en-US" sz="1600">
                <a:latin typeface="Arial" panose="020B0604020202020204" pitchFamily="34" charset="0"/>
              </a:rPr>
              <a:t>ユーザ、</a:t>
            </a:r>
            <a:r>
              <a:rPr kumimoji="0" lang="en-US" altLang="ja-JP" sz="1600">
                <a:latin typeface="Arial" panose="020B0604020202020204" pitchFamily="34" charset="0"/>
              </a:rPr>
              <a:t>10</a:t>
            </a:r>
            <a:r>
              <a:rPr kumimoji="0" lang="ja-JP" altLang="en-US" sz="1600">
                <a:latin typeface="Arial" panose="020B0604020202020204" pitchFamily="34" charset="0"/>
              </a:rPr>
              <a:t>年データ量ベース</a:t>
            </a:r>
            <a:r>
              <a:rPr kumimoji="0" lang="zh-CN" altLang="zh-CN" sz="1600">
                <a:latin typeface="Arial" panose="020B0604020202020204" pitchFamily="34" charset="0"/>
              </a:rPr>
              <a:t>）を実施。 </a:t>
            </a: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四角形: 角を丸くする 5">
            <a:extLst>
              <a:ext uri="{FF2B5EF4-FFF2-40B4-BE49-F238E27FC236}">
                <a16:creationId xmlns:a16="http://schemas.microsoft.com/office/drawing/2014/main" id="{98D86839-7B62-FBD9-DF67-D2C21F56F170}"/>
              </a:ext>
            </a:extLst>
          </p:cNvPr>
          <p:cNvSpPr/>
          <p:nvPr/>
        </p:nvSpPr>
        <p:spPr>
          <a:xfrm>
            <a:off x="6255509" y="3510831"/>
            <a:ext cx="3755648" cy="327857"/>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権限管理</a:t>
            </a:r>
            <a:endParaRPr lang="ja-JP" altLang="en-US" dirty="0">
              <a:effectLst/>
            </a:endParaRPr>
          </a:p>
        </p:txBody>
      </p:sp>
      <p:sp>
        <p:nvSpPr>
          <p:cNvPr id="15" name="テキスト ボックス 14"/>
          <p:cNvSpPr txBox="1"/>
          <p:nvPr/>
        </p:nvSpPr>
        <p:spPr>
          <a:xfrm>
            <a:off x="323843" y="1372463"/>
            <a:ext cx="5387430" cy="41850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ユーザグループ単位で、画面の</a:t>
            </a:r>
            <a:r>
              <a:rPr kumimoji="0" lang="en-US" altLang="ja-JP" sz="1600" dirty="0">
                <a:latin typeface="Arial" panose="020B0604020202020204" pitchFamily="34" charset="0"/>
              </a:rPr>
              <a:t>CRUD</a:t>
            </a:r>
            <a:r>
              <a:rPr kumimoji="0" lang="ja-JP" altLang="en-US" sz="1600" dirty="0">
                <a:latin typeface="Arial" panose="020B0604020202020204" pitchFamily="34" charset="0"/>
              </a:rPr>
              <a:t>権限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データレコード単位で、開示範囲</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参照権限　ユーザ、グループ向け）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sz="1600" dirty="0">
                <a:latin typeface="Arial" panose="020B0604020202020204" pitchFamily="34" charset="0"/>
              </a:rPr>
              <a:t>PowerApps</a:t>
            </a:r>
            <a:r>
              <a:rPr kumimoji="0" lang="ja-JP" altLang="en-US" sz="1600" dirty="0">
                <a:latin typeface="Arial" panose="020B0604020202020204" pitchFamily="34" charset="0"/>
              </a:rPr>
              <a:t>アクセス可否の権限チェックに関しては、</a:t>
            </a:r>
            <a:r>
              <a:rPr kumimoji="0" lang="en-US" altLang="ja-JP" sz="1600" dirty="0">
                <a:latin typeface="Arial" panose="020B0604020202020204" pitchFamily="34" charset="0"/>
              </a:rPr>
              <a:t>Azure </a:t>
            </a:r>
            <a:r>
              <a:rPr kumimoji="0" lang="ja-JP" altLang="en-US" sz="1600" dirty="0">
                <a:latin typeface="Arial" panose="020B0604020202020204" pitchFamily="34" charset="0"/>
              </a:rPr>
              <a:t>の</a:t>
            </a:r>
            <a:r>
              <a:rPr kumimoji="0" lang="en-US" altLang="ja-JP" sz="1600" dirty="0" err="1">
                <a:latin typeface="Arial" panose="020B0604020202020204" pitchFamily="34" charset="0"/>
              </a:rPr>
              <a:t>SecurityGroup</a:t>
            </a:r>
            <a:r>
              <a:rPr kumimoji="0" lang="ja-JP" altLang="en-US" sz="1600" dirty="0">
                <a:latin typeface="Arial" panose="020B0604020202020204" pitchFamily="34" charset="0"/>
              </a:rPr>
              <a:t>で管理されますが、ユーザグループ・文書単位のアクセス権限は</a:t>
            </a:r>
            <a:r>
              <a:rPr kumimoji="0" lang="en-US" altLang="ja-JP" sz="1600" dirty="0" err="1">
                <a:latin typeface="Arial" panose="020B0604020202020204" pitchFamily="34" charset="0"/>
              </a:rPr>
              <a:t>Sqlserver</a:t>
            </a:r>
            <a:r>
              <a:rPr kumimoji="0" lang="ja-JP" altLang="en-US" sz="1600" dirty="0">
                <a:latin typeface="Arial" panose="020B0604020202020204" pitchFamily="34" charset="0"/>
              </a:rPr>
              <a:t>にて権限管理テーブルを定義し、業務レベルで管理する</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一覧系（検索結果）は、</a:t>
            </a:r>
            <a:r>
              <a:rPr kumimoji="0" lang="en-US" altLang="ja-JP" sz="1400" dirty="0" err="1">
                <a:latin typeface="Arial" panose="020B0604020202020204" pitchFamily="34" charset="0"/>
              </a:rPr>
              <a:t>Sql</a:t>
            </a:r>
            <a:r>
              <a:rPr kumimoji="0" lang="ja-JP" altLang="en-US" sz="1400" dirty="0">
                <a:latin typeface="Arial" panose="020B0604020202020204" pitchFamily="34" charset="0"/>
              </a:rPr>
              <a:t>の</a:t>
            </a:r>
            <a:r>
              <a:rPr kumimoji="0" lang="en-US" altLang="ja-JP" sz="1400" dirty="0">
                <a:latin typeface="Arial" panose="020B0604020202020204" pitchFamily="34" charset="0"/>
              </a:rPr>
              <a:t>Where</a:t>
            </a:r>
            <a:r>
              <a:rPr kumimoji="0" lang="ja-JP" altLang="en-US" sz="1400" dirty="0">
                <a:latin typeface="Arial" panose="020B0604020202020204" pitchFamily="34" charset="0"/>
              </a:rPr>
              <a:t>条件でアクセス可能の文書のみで</a:t>
            </a:r>
            <a:r>
              <a:rPr kumimoji="0" lang="en-US" altLang="ja-JP" sz="1400" dirty="0">
                <a:latin typeface="Arial" panose="020B0604020202020204" pitchFamily="34" charset="0"/>
              </a:rPr>
              <a:t>Filter</a:t>
            </a:r>
            <a:r>
              <a:rPr kumimoji="0" lang="ja-JP" altLang="en-US" sz="1400" dirty="0">
                <a:latin typeface="Arial" panose="020B0604020202020204" pitchFamily="34" charset="0"/>
              </a:rPr>
              <a:t>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文書の詳細画面直接開く場合、カレントログインユーザのアクセス可否を再度判断する（直接</a:t>
            </a:r>
            <a:r>
              <a:rPr kumimoji="0" lang="en-US" altLang="ja-JP" sz="1400" dirty="0" err="1">
                <a:latin typeface="Arial" panose="020B0604020202020204" pitchFamily="34" charset="0"/>
              </a:rPr>
              <a:t>Url</a:t>
            </a:r>
            <a:r>
              <a:rPr kumimoji="0" lang="ja-JP" altLang="en-US" sz="1400" dirty="0">
                <a:latin typeface="Arial" panose="020B0604020202020204" pitchFamily="34" charset="0"/>
              </a:rPr>
              <a:t>修正で不正アクセスを避け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en-US" altLang="ja-JP" sz="1400" dirty="0">
                <a:latin typeface="Arial" panose="020B0604020202020204" pitchFamily="34" charset="0"/>
              </a:rPr>
              <a:t>MCC</a:t>
            </a:r>
            <a:r>
              <a:rPr kumimoji="0" lang="ja-JP" altLang="en-US" sz="1400" dirty="0">
                <a:latin typeface="Arial" panose="020B0604020202020204" pitchFamily="34" charset="0"/>
              </a:rPr>
              <a:t>様社内の共通リスト（社員情報マスタ、組織情報マスタ）を利用し、既存資産を活用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endParaRPr kumimoji="0" lang="en-US" altLang="ja-JP" sz="1400" dirty="0">
              <a:latin typeface="Arial" panose="020B0604020202020204" pitchFamily="34" charset="0"/>
            </a:endParaRPr>
          </a:p>
          <a:p>
            <a:pPr eaLnBrk="0" fontAlgn="base" hangingPunct="0">
              <a:spcBef>
                <a:spcPct val="0"/>
              </a:spcBef>
              <a:spcAft>
                <a:spcPct val="0"/>
              </a:spcAft>
            </a:pPr>
            <a:r>
              <a:rPr kumimoji="0" lang="en-US" altLang="ja-JP" sz="1400" dirty="0">
                <a:latin typeface="Arial" panose="020B0604020202020204" pitchFamily="34" charset="0"/>
              </a:rPr>
              <a:t>※</a:t>
            </a:r>
            <a:r>
              <a:rPr kumimoji="0" lang="ja-JP" altLang="en-US" sz="1400" dirty="0">
                <a:latin typeface="Arial" panose="020B0604020202020204" pitchFamily="34" charset="0"/>
              </a:rPr>
              <a:t>　右側は実現案の一例であり、今回案件の権限管理粒度・組織定義粒度に合わせて構造設計フェーズに、詳細化する予定</a:t>
            </a:r>
            <a:endParaRPr kumimoji="0" lang="en-US" altLang="ja-JP" sz="14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sz="1600" dirty="0">
              <a:latin typeface="Arial" panose="020B0604020202020204" pitchFamily="34" charset="0"/>
            </a:endParaRPr>
          </a:p>
        </p:txBody>
      </p:sp>
      <p:sp>
        <p:nvSpPr>
          <p:cNvPr id="5" name="四角形: 角を丸くする 4">
            <a:extLst>
              <a:ext uri="{FF2B5EF4-FFF2-40B4-BE49-F238E27FC236}">
                <a16:creationId xmlns:a16="http://schemas.microsoft.com/office/drawing/2014/main" id="{6C29B304-7A3F-09EF-C13B-7D77794E56F3}"/>
              </a:ext>
            </a:extLst>
          </p:cNvPr>
          <p:cNvSpPr/>
          <p:nvPr/>
        </p:nvSpPr>
        <p:spPr>
          <a:xfrm>
            <a:off x="6255509" y="2473406"/>
            <a:ext cx="3755648"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35698CB4-E2D6-2A48-32D6-594CFE09BAB9}"/>
              </a:ext>
            </a:extLst>
          </p:cNvPr>
          <p:cNvSpPr/>
          <p:nvPr/>
        </p:nvSpPr>
        <p:spPr>
          <a:xfrm>
            <a:off x="5750560" y="1833098"/>
            <a:ext cx="822438"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ログイン</a:t>
            </a:r>
            <a:endParaRPr kumimoji="1" lang="en-US" altLang="ja-JP" sz="1100" dirty="0"/>
          </a:p>
          <a:p>
            <a:pPr algn="ctr"/>
            <a:r>
              <a:rPr kumimoji="1" lang="ja-JP" altLang="en-US" sz="1100" dirty="0"/>
              <a:t>ユーザ</a:t>
            </a:r>
          </a:p>
        </p:txBody>
      </p:sp>
      <p:cxnSp>
        <p:nvCxnSpPr>
          <p:cNvPr id="12" name="コネクタ: カギ線 11">
            <a:extLst>
              <a:ext uri="{FF2B5EF4-FFF2-40B4-BE49-F238E27FC236}">
                <a16:creationId xmlns:a16="http://schemas.microsoft.com/office/drawing/2014/main" id="{9E45B141-258E-B087-8B9B-B2E1A62F2966}"/>
              </a:ext>
            </a:extLst>
          </p:cNvPr>
          <p:cNvCxnSpPr>
            <a:cxnSpLocks/>
            <a:stCxn id="11" idx="2"/>
            <a:endCxn id="16" idx="1"/>
          </p:cNvCxnSpPr>
          <p:nvPr/>
        </p:nvCxnSpPr>
        <p:spPr>
          <a:xfrm rot="16200000" flipH="1">
            <a:off x="5485049" y="2838794"/>
            <a:ext cx="1505873" cy="152412"/>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コネクタ: カギ線 12">
            <a:extLst>
              <a:ext uri="{FF2B5EF4-FFF2-40B4-BE49-F238E27FC236}">
                <a16:creationId xmlns:a16="http://schemas.microsoft.com/office/drawing/2014/main" id="{11B4CD0B-EC79-5C9F-3A86-9E0B06AD825C}"/>
              </a:ext>
            </a:extLst>
          </p:cNvPr>
          <p:cNvCxnSpPr>
            <a:cxnSpLocks/>
            <a:stCxn id="11" idx="2"/>
            <a:endCxn id="14" idx="1"/>
          </p:cNvCxnSpPr>
          <p:nvPr/>
        </p:nvCxnSpPr>
        <p:spPr>
          <a:xfrm rot="16200000" flipH="1">
            <a:off x="5975209" y="2348633"/>
            <a:ext cx="572271" cy="19913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C619B2BD-96F3-7969-74B0-FBF772A968C3}"/>
              </a:ext>
            </a:extLst>
          </p:cNvPr>
          <p:cNvSpPr/>
          <p:nvPr/>
        </p:nvSpPr>
        <p:spPr>
          <a:xfrm>
            <a:off x="6360910" y="2555750"/>
            <a:ext cx="922570" cy="357169"/>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所属組織</a:t>
            </a:r>
            <a:r>
              <a:rPr kumimoji="1" lang="en-US" altLang="ja-JP" sz="1100" dirty="0"/>
              <a:t>1</a:t>
            </a:r>
            <a:endParaRPr kumimoji="1" lang="ja-JP" altLang="en-US" sz="1100" dirty="0"/>
          </a:p>
        </p:txBody>
      </p:sp>
      <p:sp>
        <p:nvSpPr>
          <p:cNvPr id="16" name="正方形/長方形 15">
            <a:extLst>
              <a:ext uri="{FF2B5EF4-FFF2-40B4-BE49-F238E27FC236}">
                <a16:creationId xmlns:a16="http://schemas.microsoft.com/office/drawing/2014/main" id="{4F9C7350-8C5D-89A3-92DB-F76D9AF22889}"/>
              </a:ext>
            </a:extLst>
          </p:cNvPr>
          <p:cNvSpPr/>
          <p:nvPr/>
        </p:nvSpPr>
        <p:spPr>
          <a:xfrm>
            <a:off x="6314191" y="3547446"/>
            <a:ext cx="922571" cy="240981"/>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t>所属組織</a:t>
            </a:r>
            <a:r>
              <a:rPr kumimoji="1" lang="en-US" altLang="ja-JP" sz="1000" dirty="0"/>
              <a:t>…</a:t>
            </a:r>
            <a:endParaRPr kumimoji="1" lang="ja-JP" altLang="en-US" sz="1000" dirty="0"/>
          </a:p>
        </p:txBody>
      </p:sp>
      <p:sp>
        <p:nvSpPr>
          <p:cNvPr id="17" name="正方形/長方形 16">
            <a:extLst>
              <a:ext uri="{FF2B5EF4-FFF2-40B4-BE49-F238E27FC236}">
                <a16:creationId xmlns:a16="http://schemas.microsoft.com/office/drawing/2014/main" id="{3186FC23-8812-E63C-825D-E93E9D1DD8DA}"/>
              </a:ext>
            </a:extLst>
          </p:cNvPr>
          <p:cNvSpPr/>
          <p:nvPr/>
        </p:nvSpPr>
        <p:spPr>
          <a:xfrm>
            <a:off x="8350034"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00" dirty="0"/>
              <a:t>会社</a:t>
            </a:r>
          </a:p>
        </p:txBody>
      </p:sp>
      <p:sp>
        <p:nvSpPr>
          <p:cNvPr id="20" name="正方形/長方形 19">
            <a:extLst>
              <a:ext uri="{FF2B5EF4-FFF2-40B4-BE49-F238E27FC236}">
                <a16:creationId xmlns:a16="http://schemas.microsoft.com/office/drawing/2014/main" id="{EF1FCE24-8F04-1445-02A7-C0675E828A81}"/>
              </a:ext>
            </a:extLst>
          </p:cNvPr>
          <p:cNvSpPr/>
          <p:nvPr/>
        </p:nvSpPr>
        <p:spPr>
          <a:xfrm>
            <a:off x="10113745" y="3650805"/>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rPr>
              <a:t>所在</a:t>
            </a:r>
            <a:r>
              <a:rPr lang="en-US" altLang="ja-JP" sz="900" dirty="0">
                <a:solidFill>
                  <a:schemeClr val="tx1"/>
                </a:solidFill>
              </a:rPr>
              <a:t>Region</a:t>
            </a:r>
            <a:endParaRPr kumimoji="1" lang="ja-JP" altLang="en-US" sz="900" dirty="0">
              <a:solidFill>
                <a:schemeClr val="tx1"/>
              </a:solidFill>
            </a:endParaRPr>
          </a:p>
        </p:txBody>
      </p:sp>
      <p:cxnSp>
        <p:nvCxnSpPr>
          <p:cNvPr id="24" name="直線矢印コネクタ 23">
            <a:extLst>
              <a:ext uri="{FF2B5EF4-FFF2-40B4-BE49-F238E27FC236}">
                <a16:creationId xmlns:a16="http://schemas.microsoft.com/office/drawing/2014/main" id="{1B9626BA-8FCE-E813-819B-1FAC803F9087}"/>
              </a:ext>
            </a:extLst>
          </p:cNvPr>
          <p:cNvCxnSpPr>
            <a:cxnSpLocks/>
            <a:stCxn id="14" idx="3"/>
            <a:endCxn id="46" idx="1"/>
          </p:cNvCxnSpPr>
          <p:nvPr/>
        </p:nvCxnSpPr>
        <p:spPr>
          <a:xfrm flipV="1">
            <a:off x="7283480" y="2734334"/>
            <a:ext cx="250962" cy="1"/>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D87EEE08-DCA0-0224-A834-F844C15ADB88}"/>
              </a:ext>
            </a:extLst>
          </p:cNvPr>
          <p:cNvSpPr/>
          <p:nvPr/>
        </p:nvSpPr>
        <p:spPr>
          <a:xfrm>
            <a:off x="7553447" y="3547446"/>
            <a:ext cx="1104499" cy="240519"/>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上層組織</a:t>
            </a:r>
            <a:r>
              <a:rPr kumimoji="1" lang="en-US" altLang="ja-JP" sz="1000" dirty="0"/>
              <a:t>…</a:t>
            </a:r>
            <a:endParaRPr kumimoji="1" lang="ja-JP" altLang="en-US" sz="1000" dirty="0"/>
          </a:p>
        </p:txBody>
      </p:sp>
      <p:cxnSp>
        <p:nvCxnSpPr>
          <p:cNvPr id="27" name="直線矢印コネクタ 26">
            <a:extLst>
              <a:ext uri="{FF2B5EF4-FFF2-40B4-BE49-F238E27FC236}">
                <a16:creationId xmlns:a16="http://schemas.microsoft.com/office/drawing/2014/main" id="{FF5D66F0-ED55-C441-D779-A68168BA0F73}"/>
              </a:ext>
            </a:extLst>
          </p:cNvPr>
          <p:cNvCxnSpPr>
            <a:cxnSpLocks/>
            <a:stCxn id="16" idx="3"/>
            <a:endCxn id="26" idx="1"/>
          </p:cNvCxnSpPr>
          <p:nvPr/>
        </p:nvCxnSpPr>
        <p:spPr>
          <a:xfrm flipV="1">
            <a:off x="7236762" y="3667706"/>
            <a:ext cx="316685" cy="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4DEFCB05-6372-E348-929B-20757232D221}"/>
              </a:ext>
            </a:extLst>
          </p:cNvPr>
          <p:cNvCxnSpPr>
            <a:cxnSpLocks/>
            <a:endCxn id="20" idx="3"/>
          </p:cNvCxnSpPr>
          <p:nvPr/>
        </p:nvCxnSpPr>
        <p:spPr>
          <a:xfrm rot="5400000">
            <a:off x="10402944" y="2554952"/>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20EF2802-EBB0-9D14-50D5-BD230FB16E81}"/>
              </a:ext>
            </a:extLst>
          </p:cNvPr>
          <p:cNvSpPr/>
          <p:nvPr/>
        </p:nvSpPr>
        <p:spPr>
          <a:xfrm>
            <a:off x="9417521" y="2570960"/>
            <a:ext cx="500435" cy="326748"/>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44" name="四角形: 角を丸くする 43">
            <a:extLst>
              <a:ext uri="{FF2B5EF4-FFF2-40B4-BE49-F238E27FC236}">
                <a16:creationId xmlns:a16="http://schemas.microsoft.com/office/drawing/2014/main" id="{DE5AEA04-EC2F-281D-F0B5-532542F90ABB}"/>
              </a:ext>
            </a:extLst>
          </p:cNvPr>
          <p:cNvSpPr/>
          <p:nvPr/>
        </p:nvSpPr>
        <p:spPr>
          <a:xfrm>
            <a:off x="10113744" y="2107402"/>
            <a:ext cx="1209307" cy="406333"/>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dirty="0">
                <a:solidFill>
                  <a:schemeClr val="tx1"/>
                </a:solidFill>
              </a:rPr>
              <a:t>閲覧可能部署</a:t>
            </a:r>
            <a:r>
              <a:rPr kumimoji="1" lang="en-US" altLang="ja-JP" sz="800" dirty="0">
                <a:solidFill>
                  <a:schemeClr val="tx1"/>
                </a:solidFill>
              </a:rPr>
              <a:t>１～１０</a:t>
            </a:r>
            <a:r>
              <a:rPr kumimoji="1" lang="ja-JP" altLang="en-US" sz="800" dirty="0">
                <a:solidFill>
                  <a:schemeClr val="tx1"/>
                </a:solidFill>
              </a:rPr>
              <a:t>（組織＋個人</a:t>
            </a:r>
            <a:r>
              <a:rPr kumimoji="1" lang="en-US" altLang="ja-JP" sz="800" dirty="0">
                <a:solidFill>
                  <a:schemeClr val="tx1"/>
                </a:solidFill>
              </a:rPr>
              <a:t>Max10</a:t>
            </a:r>
            <a:r>
              <a:rPr kumimoji="1" lang="ja-JP" altLang="en-US" sz="800" dirty="0">
                <a:solidFill>
                  <a:schemeClr val="tx1"/>
                </a:solidFill>
              </a:rPr>
              <a:t>件、自由に選べる）</a:t>
            </a:r>
            <a:endParaRPr kumimoji="1" lang="en-US" altLang="ja-JP" sz="800" dirty="0">
              <a:solidFill>
                <a:schemeClr val="tx1"/>
              </a:solidFill>
            </a:endParaRPr>
          </a:p>
        </p:txBody>
      </p:sp>
      <p:sp>
        <p:nvSpPr>
          <p:cNvPr id="45" name="正方形/長方形 44">
            <a:extLst>
              <a:ext uri="{FF2B5EF4-FFF2-40B4-BE49-F238E27FC236}">
                <a16:creationId xmlns:a16="http://schemas.microsoft.com/office/drawing/2014/main" id="{77751E55-859F-58C0-6B2F-B1F341C9D7ED}"/>
              </a:ext>
            </a:extLst>
          </p:cNvPr>
          <p:cNvSpPr/>
          <p:nvPr/>
        </p:nvSpPr>
        <p:spPr>
          <a:xfrm>
            <a:off x="10113744" y="264351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6" name="正方形/長方形 45">
            <a:extLst>
              <a:ext uri="{FF2B5EF4-FFF2-40B4-BE49-F238E27FC236}">
                <a16:creationId xmlns:a16="http://schemas.microsoft.com/office/drawing/2014/main" id="{018BD0A1-CEB9-21DD-5B28-2DE99F8FDC1A}"/>
              </a:ext>
            </a:extLst>
          </p:cNvPr>
          <p:cNvSpPr/>
          <p:nvPr/>
        </p:nvSpPr>
        <p:spPr>
          <a:xfrm>
            <a:off x="7534442" y="2569851"/>
            <a:ext cx="697070" cy="328966"/>
          </a:xfrm>
          <a:prstGeom prst="rect">
            <a:avLst/>
          </a:prstGeom>
          <a:solidFill>
            <a:srgbClr val="0070C0"/>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t>上層組織</a:t>
            </a:r>
          </a:p>
        </p:txBody>
      </p:sp>
      <p:cxnSp>
        <p:nvCxnSpPr>
          <p:cNvPr id="47" name="直線矢印コネクタ 46">
            <a:extLst>
              <a:ext uri="{FF2B5EF4-FFF2-40B4-BE49-F238E27FC236}">
                <a16:creationId xmlns:a16="http://schemas.microsoft.com/office/drawing/2014/main" id="{CFB1942F-9A15-314C-5CD5-964EAFF8DA24}"/>
              </a:ext>
            </a:extLst>
          </p:cNvPr>
          <p:cNvCxnSpPr>
            <a:cxnSpLocks/>
            <a:stCxn id="46" idx="3"/>
            <a:endCxn id="17" idx="1"/>
          </p:cNvCxnSpPr>
          <p:nvPr/>
        </p:nvCxnSpPr>
        <p:spPr>
          <a:xfrm>
            <a:off x="8231512" y="2734334"/>
            <a:ext cx="118522"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9" name="フローチャート: 判断 48">
            <a:extLst>
              <a:ext uri="{FF2B5EF4-FFF2-40B4-BE49-F238E27FC236}">
                <a16:creationId xmlns:a16="http://schemas.microsoft.com/office/drawing/2014/main" id="{970617A0-69DF-6A58-69A8-8DD19417D1EC}"/>
              </a:ext>
            </a:extLst>
          </p:cNvPr>
          <p:cNvSpPr/>
          <p:nvPr/>
        </p:nvSpPr>
        <p:spPr>
          <a:xfrm>
            <a:off x="10347491" y="293134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ローチャート: 判断 49">
            <a:extLst>
              <a:ext uri="{FF2B5EF4-FFF2-40B4-BE49-F238E27FC236}">
                <a16:creationId xmlns:a16="http://schemas.microsoft.com/office/drawing/2014/main" id="{57FB4B99-EB80-1D68-8E2D-CF0381CFC192}"/>
              </a:ext>
            </a:extLst>
          </p:cNvPr>
          <p:cNvSpPr/>
          <p:nvPr/>
        </p:nvSpPr>
        <p:spPr>
          <a:xfrm>
            <a:off x="8963349" y="2889127"/>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 name="コネクタ: カギ線 50">
            <a:extLst>
              <a:ext uri="{FF2B5EF4-FFF2-40B4-BE49-F238E27FC236}">
                <a16:creationId xmlns:a16="http://schemas.microsoft.com/office/drawing/2014/main" id="{368FA122-369C-C9E5-E801-F33B823A2D47}"/>
              </a:ext>
            </a:extLst>
          </p:cNvPr>
          <p:cNvCxnSpPr>
            <a:cxnSpLocks/>
            <a:stCxn id="17" idx="2"/>
            <a:endCxn id="52" idx="1"/>
          </p:cNvCxnSpPr>
          <p:nvPr/>
        </p:nvCxnSpPr>
        <p:spPr>
          <a:xfrm rot="16200000" flipH="1">
            <a:off x="9112703" y="2361401"/>
            <a:ext cx="463625" cy="153845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F7A1DDF0-E55C-E11C-C97B-E4BE12900487}"/>
              </a:ext>
            </a:extLst>
          </p:cNvPr>
          <p:cNvSpPr/>
          <p:nvPr/>
        </p:nvSpPr>
        <p:spPr>
          <a:xfrm>
            <a:off x="10113743" y="319795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rPr>
              <a:t>所管会社</a:t>
            </a:r>
          </a:p>
        </p:txBody>
      </p:sp>
      <p:cxnSp>
        <p:nvCxnSpPr>
          <p:cNvPr id="53" name="コネクタ: カギ線 52">
            <a:extLst>
              <a:ext uri="{FF2B5EF4-FFF2-40B4-BE49-F238E27FC236}">
                <a16:creationId xmlns:a16="http://schemas.microsoft.com/office/drawing/2014/main" id="{285763A7-1F61-684C-B8ED-4013DD0D3BB4}"/>
              </a:ext>
            </a:extLst>
          </p:cNvPr>
          <p:cNvCxnSpPr>
            <a:cxnSpLocks/>
          </p:cNvCxnSpPr>
          <p:nvPr/>
        </p:nvCxnSpPr>
        <p:spPr>
          <a:xfrm rot="5400000">
            <a:off x="11372100" y="2021172"/>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485E4F7D-96B6-4A9A-15A4-BAB4817221B8}"/>
              </a:ext>
            </a:extLst>
          </p:cNvPr>
          <p:cNvCxnSpPr>
            <a:cxnSpLocks/>
            <a:endCxn id="45" idx="3"/>
          </p:cNvCxnSpPr>
          <p:nvPr/>
        </p:nvCxnSpPr>
        <p:spPr>
          <a:xfrm rot="5400000">
            <a:off x="10827815" y="1972529"/>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6" name="コネクタ: カギ線 55">
            <a:extLst>
              <a:ext uri="{FF2B5EF4-FFF2-40B4-BE49-F238E27FC236}">
                <a16:creationId xmlns:a16="http://schemas.microsoft.com/office/drawing/2014/main" id="{3F861241-9381-374C-CC34-E526F15D5EEC}"/>
              </a:ext>
            </a:extLst>
          </p:cNvPr>
          <p:cNvCxnSpPr>
            <a:cxnSpLocks/>
            <a:stCxn id="38" idx="2"/>
            <a:endCxn id="20" idx="1"/>
          </p:cNvCxnSpPr>
          <p:nvPr/>
        </p:nvCxnSpPr>
        <p:spPr>
          <a:xfrm rot="16200000" flipH="1">
            <a:off x="9431952" y="3133495"/>
            <a:ext cx="917580" cy="44600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D0C51975-B43C-A1EF-CFDD-420654B1A2E7}"/>
              </a:ext>
            </a:extLst>
          </p:cNvPr>
          <p:cNvCxnSpPr>
            <a:cxnSpLocks/>
            <a:stCxn id="14" idx="2"/>
            <a:endCxn id="45" idx="2"/>
          </p:cNvCxnSpPr>
          <p:nvPr/>
        </p:nvCxnSpPr>
        <p:spPr>
          <a:xfrm rot="16200000" flipH="1">
            <a:off x="8740516" y="994597"/>
            <a:ext cx="59560" cy="3896203"/>
          </a:xfrm>
          <a:prstGeom prst="bentConnector3">
            <a:avLst>
              <a:gd name="adj1" fmla="val 398519"/>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D5CE732D-32E5-5B0D-A7E7-BEE2405C60C8}"/>
              </a:ext>
            </a:extLst>
          </p:cNvPr>
          <p:cNvCxnSpPr>
            <a:cxnSpLocks/>
            <a:stCxn id="11" idx="3"/>
            <a:endCxn id="44" idx="1"/>
          </p:cNvCxnSpPr>
          <p:nvPr/>
        </p:nvCxnSpPr>
        <p:spPr>
          <a:xfrm>
            <a:off x="6572998" y="1997581"/>
            <a:ext cx="3540746" cy="312988"/>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フローチャート: 判断 65">
            <a:extLst>
              <a:ext uri="{FF2B5EF4-FFF2-40B4-BE49-F238E27FC236}">
                <a16:creationId xmlns:a16="http://schemas.microsoft.com/office/drawing/2014/main" id="{729ACF5A-6C08-9321-59AC-2A95FA462070}"/>
              </a:ext>
            </a:extLst>
          </p:cNvPr>
          <p:cNvSpPr/>
          <p:nvPr/>
        </p:nvSpPr>
        <p:spPr>
          <a:xfrm>
            <a:off x="11335139" y="241714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ローチャート: 判断 66">
            <a:extLst>
              <a:ext uri="{FF2B5EF4-FFF2-40B4-BE49-F238E27FC236}">
                <a16:creationId xmlns:a16="http://schemas.microsoft.com/office/drawing/2014/main" id="{0159BF61-3FDE-05DE-EC82-2289BBED6EF8}"/>
              </a:ext>
            </a:extLst>
          </p:cNvPr>
          <p:cNvSpPr/>
          <p:nvPr/>
        </p:nvSpPr>
        <p:spPr>
          <a:xfrm>
            <a:off x="8004971" y="286611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a:extLst>
              <a:ext uri="{FF2B5EF4-FFF2-40B4-BE49-F238E27FC236}">
                <a16:creationId xmlns:a16="http://schemas.microsoft.com/office/drawing/2014/main" id="{45CC9BA9-20E2-E49C-E046-3B3B031AC814}"/>
              </a:ext>
            </a:extLst>
          </p:cNvPr>
          <p:cNvSpPr txBox="1"/>
          <p:nvPr/>
        </p:nvSpPr>
        <p:spPr>
          <a:xfrm>
            <a:off x="9667738" y="1550729"/>
            <a:ext cx="1584462" cy="523220"/>
          </a:xfrm>
          <a:prstGeom prst="rect">
            <a:avLst/>
          </a:prstGeom>
          <a:noFill/>
        </p:spPr>
        <p:txBody>
          <a:bodyPr wrap="square" rtlCol="0">
            <a:spAutoFit/>
          </a:bodyPr>
          <a:lstStyle/>
          <a:p>
            <a:r>
              <a:rPr kumimoji="1" lang="ja-JP" altLang="en-US" sz="700" dirty="0"/>
              <a:t>左記の権限に入れなくとしても、ここに入れば、閲覧可能</a:t>
            </a:r>
            <a:endParaRPr kumimoji="1" lang="en-US" altLang="ja-JP" sz="700" dirty="0"/>
          </a:p>
          <a:p>
            <a:r>
              <a:rPr kumimoji="1" lang="ja-JP" altLang="en-US" sz="700" dirty="0"/>
              <a:t>単位：案件レベル</a:t>
            </a:r>
            <a:endParaRPr kumimoji="1" lang="en-US" altLang="ja-JP" sz="700" dirty="0"/>
          </a:p>
          <a:p>
            <a:r>
              <a:rPr kumimoji="1" lang="ja-JP" altLang="en-US" sz="700" dirty="0"/>
              <a:t>部署＋</a:t>
            </a:r>
            <a:r>
              <a:rPr lang="ja-JP" altLang="en-US" sz="700" dirty="0"/>
              <a:t>個人</a:t>
            </a:r>
            <a:r>
              <a:rPr kumimoji="1" lang="ja-JP" altLang="en-US" sz="700" dirty="0"/>
              <a:t>両方可能</a:t>
            </a:r>
          </a:p>
        </p:txBody>
      </p:sp>
      <p:sp>
        <p:nvSpPr>
          <p:cNvPr id="74" name="フローチャート: 判断 73">
            <a:extLst>
              <a:ext uri="{FF2B5EF4-FFF2-40B4-BE49-F238E27FC236}">
                <a16:creationId xmlns:a16="http://schemas.microsoft.com/office/drawing/2014/main" id="{E4BF100E-DCF3-6932-F379-D576C6718375}"/>
              </a:ext>
            </a:extLst>
          </p:cNvPr>
          <p:cNvSpPr/>
          <p:nvPr/>
        </p:nvSpPr>
        <p:spPr>
          <a:xfrm>
            <a:off x="10045163" y="346403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6" name="コネクタ: カギ線 75">
            <a:extLst>
              <a:ext uri="{FF2B5EF4-FFF2-40B4-BE49-F238E27FC236}">
                <a16:creationId xmlns:a16="http://schemas.microsoft.com/office/drawing/2014/main" id="{C861C588-DA30-1FE8-CCC2-9EE5332D0F22}"/>
              </a:ext>
            </a:extLst>
          </p:cNvPr>
          <p:cNvCxnSpPr>
            <a:cxnSpLocks/>
            <a:stCxn id="96" idx="2"/>
            <a:endCxn id="74" idx="1"/>
          </p:cNvCxnSpPr>
          <p:nvPr/>
        </p:nvCxnSpPr>
        <p:spPr>
          <a:xfrm rot="16200000" flipH="1">
            <a:off x="9288036" y="2730304"/>
            <a:ext cx="588614" cy="92563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四角形: 角を丸くする 77">
            <a:extLst>
              <a:ext uri="{FF2B5EF4-FFF2-40B4-BE49-F238E27FC236}">
                <a16:creationId xmlns:a16="http://schemas.microsoft.com/office/drawing/2014/main" id="{67838BC0-8257-718E-D0B6-C3B63BA60C8F}"/>
              </a:ext>
            </a:extLst>
          </p:cNvPr>
          <p:cNvSpPr/>
          <p:nvPr/>
        </p:nvSpPr>
        <p:spPr>
          <a:xfrm>
            <a:off x="6324838" y="3960929"/>
            <a:ext cx="1429675" cy="240982"/>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論理</a:t>
            </a:r>
            <a:r>
              <a:rPr kumimoji="1" lang="en-US" altLang="ja-JP" sz="800" dirty="0"/>
              <a:t>Group</a:t>
            </a:r>
            <a:endParaRPr kumimoji="1" lang="ja-JP" altLang="en-US" sz="800" dirty="0"/>
          </a:p>
        </p:txBody>
      </p:sp>
      <p:sp>
        <p:nvSpPr>
          <p:cNvPr id="79" name="四角形: 角を丸くする 78">
            <a:extLst>
              <a:ext uri="{FF2B5EF4-FFF2-40B4-BE49-F238E27FC236}">
                <a16:creationId xmlns:a16="http://schemas.microsoft.com/office/drawing/2014/main" id="{117F2DB8-735C-AB14-0186-227D6C4F9863}"/>
              </a:ext>
            </a:extLst>
          </p:cNvPr>
          <p:cNvSpPr/>
          <p:nvPr/>
        </p:nvSpPr>
        <p:spPr>
          <a:xfrm>
            <a:off x="6324838" y="4356093"/>
            <a:ext cx="1429675" cy="240982"/>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dirty="0"/>
              <a:t>論理</a:t>
            </a:r>
            <a:r>
              <a:rPr lang="en-US" altLang="ja-JP" sz="800" dirty="0"/>
              <a:t>Group…</a:t>
            </a:r>
            <a:endParaRPr kumimoji="1" lang="ja-JP" altLang="en-US" sz="800" dirty="0"/>
          </a:p>
        </p:txBody>
      </p:sp>
      <p:cxnSp>
        <p:nvCxnSpPr>
          <p:cNvPr id="89" name="コネクタ: カギ線 88">
            <a:extLst>
              <a:ext uri="{FF2B5EF4-FFF2-40B4-BE49-F238E27FC236}">
                <a16:creationId xmlns:a16="http://schemas.microsoft.com/office/drawing/2014/main" id="{93561D37-214F-DEC0-23A2-48D9B0114278}"/>
              </a:ext>
            </a:extLst>
          </p:cNvPr>
          <p:cNvCxnSpPr>
            <a:cxnSpLocks/>
            <a:stCxn id="11" idx="2"/>
            <a:endCxn id="78" idx="1"/>
          </p:cNvCxnSpPr>
          <p:nvPr/>
        </p:nvCxnSpPr>
        <p:spPr>
          <a:xfrm rot="16200000" flipH="1">
            <a:off x="5283630" y="3040212"/>
            <a:ext cx="1919356"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89">
            <a:extLst>
              <a:ext uri="{FF2B5EF4-FFF2-40B4-BE49-F238E27FC236}">
                <a16:creationId xmlns:a16="http://schemas.microsoft.com/office/drawing/2014/main" id="{98DDB7CD-16A1-C017-C049-A18F2B9BB2F0}"/>
              </a:ext>
            </a:extLst>
          </p:cNvPr>
          <p:cNvCxnSpPr>
            <a:cxnSpLocks/>
            <a:stCxn id="11" idx="2"/>
            <a:endCxn id="79" idx="1"/>
          </p:cNvCxnSpPr>
          <p:nvPr/>
        </p:nvCxnSpPr>
        <p:spPr>
          <a:xfrm rot="16200000" flipH="1">
            <a:off x="5086048" y="3237794"/>
            <a:ext cx="2314520"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601F555D-9479-AED5-4FAC-5A364D2637CD}"/>
              </a:ext>
            </a:extLst>
          </p:cNvPr>
          <p:cNvSpPr/>
          <p:nvPr/>
        </p:nvSpPr>
        <p:spPr>
          <a:xfrm>
            <a:off x="8894271"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800" dirty="0"/>
              <a:t>Country</a:t>
            </a:r>
            <a:endParaRPr kumimoji="1" lang="ja-JP" altLang="en-US" sz="800" dirty="0"/>
          </a:p>
        </p:txBody>
      </p:sp>
      <p:sp>
        <p:nvSpPr>
          <p:cNvPr id="19" name="正方形/長方形 18">
            <a:extLst>
              <a:ext uri="{FF2B5EF4-FFF2-40B4-BE49-F238E27FC236}">
                <a16:creationId xmlns:a16="http://schemas.microsoft.com/office/drawing/2014/main" id="{C33C9F49-7C0B-A526-21E9-DCD4A14C952D}"/>
              </a:ext>
            </a:extLst>
          </p:cNvPr>
          <p:cNvSpPr/>
          <p:nvPr/>
        </p:nvSpPr>
        <p:spPr>
          <a:xfrm rot="5400000">
            <a:off x="11425607" y="1683788"/>
            <a:ext cx="464082"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cxnSp>
        <p:nvCxnSpPr>
          <p:cNvPr id="125" name="コネクタ: カギ線 124">
            <a:extLst>
              <a:ext uri="{FF2B5EF4-FFF2-40B4-BE49-F238E27FC236}">
                <a16:creationId xmlns:a16="http://schemas.microsoft.com/office/drawing/2014/main" id="{B9F154C0-D8FD-96EE-6CA3-38DFD74F4A53}"/>
              </a:ext>
            </a:extLst>
          </p:cNvPr>
          <p:cNvCxnSpPr>
            <a:cxnSpLocks/>
            <a:stCxn id="19" idx="3"/>
            <a:endCxn id="52" idx="3"/>
          </p:cNvCxnSpPr>
          <p:nvPr/>
        </p:nvCxnSpPr>
        <p:spPr>
          <a:xfrm rot="5400000">
            <a:off x="10849284" y="2554078"/>
            <a:ext cx="1282130" cy="33459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878B4B2B-E57A-E011-D899-D3E9A43D1DCA}"/>
              </a:ext>
            </a:extLst>
          </p:cNvPr>
          <p:cNvCxnSpPr>
            <a:cxnSpLocks/>
            <a:stCxn id="46" idx="2"/>
            <a:endCxn id="49" idx="2"/>
          </p:cNvCxnSpPr>
          <p:nvPr/>
        </p:nvCxnSpPr>
        <p:spPr>
          <a:xfrm rot="16200000" flipH="1">
            <a:off x="9087002" y="1694792"/>
            <a:ext cx="79324" cy="2487374"/>
          </a:xfrm>
          <a:prstGeom prst="bentConnector3">
            <a:avLst>
              <a:gd name="adj1" fmla="val 234486"/>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コネクタ: カギ線 140">
            <a:extLst>
              <a:ext uri="{FF2B5EF4-FFF2-40B4-BE49-F238E27FC236}">
                <a16:creationId xmlns:a16="http://schemas.microsoft.com/office/drawing/2014/main" id="{965E2D9E-AD9F-B7FA-B172-327035324BDF}"/>
              </a:ext>
            </a:extLst>
          </p:cNvPr>
          <p:cNvCxnSpPr>
            <a:cxnSpLocks/>
            <a:stCxn id="78" idx="3"/>
            <a:endCxn id="66" idx="3"/>
          </p:cNvCxnSpPr>
          <p:nvPr/>
        </p:nvCxnSpPr>
        <p:spPr>
          <a:xfrm flipV="1">
            <a:off x="7754513" y="2440548"/>
            <a:ext cx="3626345" cy="1640872"/>
          </a:xfrm>
          <a:prstGeom prst="bentConnector3">
            <a:avLst>
              <a:gd name="adj1" fmla="val 11288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コネクタ: カギ線 144">
            <a:extLst>
              <a:ext uri="{FF2B5EF4-FFF2-40B4-BE49-F238E27FC236}">
                <a16:creationId xmlns:a16="http://schemas.microsoft.com/office/drawing/2014/main" id="{CA808C40-634C-E3C4-7471-1D593035914D}"/>
              </a:ext>
            </a:extLst>
          </p:cNvPr>
          <p:cNvCxnSpPr>
            <a:cxnSpLocks/>
            <a:stCxn id="79" idx="3"/>
            <a:endCxn id="66" idx="3"/>
          </p:cNvCxnSpPr>
          <p:nvPr/>
        </p:nvCxnSpPr>
        <p:spPr>
          <a:xfrm flipV="1">
            <a:off x="7754513" y="2440548"/>
            <a:ext cx="3626345" cy="2036036"/>
          </a:xfrm>
          <a:prstGeom prst="bentConnector3">
            <a:avLst>
              <a:gd name="adj1" fmla="val 11302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67B19-8F46-13F7-45A6-308BF5E06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4E7DFC3-2567-C19D-011B-FF966B155ACC}"/>
              </a:ext>
            </a:extLst>
          </p:cNvPr>
          <p:cNvSpPr>
            <a:spLocks noGrp="1"/>
          </p:cNvSpPr>
          <p:nvPr>
            <p:ph type="title"/>
          </p:nvPr>
        </p:nvSpPr>
        <p:spPr>
          <a:xfrm>
            <a:off x="414336" y="255263"/>
            <a:ext cx="9327072" cy="683629"/>
          </a:xfrm>
        </p:spPr>
        <p:txBody>
          <a:bodyPr>
            <a:normAutofit/>
          </a:bodyPr>
          <a:lstStyle/>
          <a:p>
            <a:r>
              <a:rPr lang="ja-JP" altLang="en-US" dirty="0"/>
              <a:t>実現方法－ユーザ別の属性管理（</a:t>
            </a:r>
            <a:r>
              <a:rPr lang="en-US" altLang="ja-JP" dirty="0"/>
              <a:t>Option</a:t>
            </a:r>
            <a:r>
              <a:rPr lang="ja-JP" altLang="en-US" dirty="0"/>
              <a:t>）</a:t>
            </a:r>
            <a:endParaRPr lang="ja-JP" altLang="en-US" dirty="0">
              <a:effectLst/>
            </a:endParaRPr>
          </a:p>
        </p:txBody>
      </p:sp>
      <p:sp>
        <p:nvSpPr>
          <p:cNvPr id="15" name="テキスト ボックス 14">
            <a:extLst>
              <a:ext uri="{FF2B5EF4-FFF2-40B4-BE49-F238E27FC236}">
                <a16:creationId xmlns:a16="http://schemas.microsoft.com/office/drawing/2014/main" id="{3FD1C739-5DD0-ADCD-D9FB-6440AEDE687F}"/>
              </a:ext>
            </a:extLst>
          </p:cNvPr>
          <p:cNvSpPr txBox="1"/>
          <p:nvPr/>
        </p:nvSpPr>
        <p:spPr>
          <a:xfrm>
            <a:off x="414336" y="919625"/>
            <a:ext cx="11490793" cy="551673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en-US" altLang="ja-JP" dirty="0"/>
              <a:t>i13</a:t>
            </a:r>
            <a:r>
              <a:rPr lang="ja-JP" altLang="en-US" dirty="0"/>
              <a:t>：利用者は必要な項目に応じてビューの設定ができること。</a:t>
            </a:r>
          </a:p>
          <a:p>
            <a:pPr marL="285750" indent="-285750">
              <a:buFont typeface="Arial" panose="020B0604020202020204" pitchFamily="34" charset="0"/>
              <a:buChar char="•"/>
            </a:pPr>
            <a:r>
              <a:rPr lang="en-US" altLang="ja-JP" dirty="0"/>
              <a:t>Grid</a:t>
            </a:r>
            <a:r>
              <a:rPr lang="ja-JP" altLang="en-US" dirty="0"/>
              <a:t>形式の列の表示／非表示</a:t>
            </a:r>
            <a:r>
              <a:rPr lang="zh-CN" altLang="en-US" dirty="0"/>
              <a:t>，</a:t>
            </a:r>
            <a:r>
              <a:rPr lang="ja-JP" altLang="en-US" dirty="0"/>
              <a:t>表示順、幅情報が設定できること</a:t>
            </a:r>
            <a:endParaRPr lang="en-US" altLang="ja-JP" dirty="0"/>
          </a:p>
          <a:p>
            <a:pPr marL="285750" indent="-285750">
              <a:buFont typeface="Arial" panose="020B0604020202020204" pitchFamily="34" charset="0"/>
              <a:buChar char="•"/>
            </a:pPr>
            <a:r>
              <a:rPr lang="en-US" altLang="ja-JP" dirty="0"/>
              <a:t>Grid</a:t>
            </a:r>
            <a:r>
              <a:rPr lang="ja-JP" altLang="en-US" dirty="0"/>
              <a:t>ロード時、表示順、表示要否、幅は</a:t>
            </a:r>
            <a:r>
              <a:rPr lang="de-DE" altLang="ja-JP" dirty="0"/>
              <a:t>Tbl_UserProperityes</a:t>
            </a:r>
            <a:r>
              <a:rPr lang="ja-JP" altLang="en-US" dirty="0"/>
              <a:t> </a:t>
            </a:r>
            <a:r>
              <a:rPr lang="en-US" altLang="ja-JP" dirty="0"/>
              <a:t>Table</a:t>
            </a:r>
            <a:r>
              <a:rPr lang="ja-JP" altLang="en-US" dirty="0"/>
              <a:t>から取得し、動的に設定すること</a:t>
            </a:r>
            <a:endParaRPr lang="en-US" altLang="ja-JP" dirty="0"/>
          </a:p>
          <a:p>
            <a:pPr marL="285750" indent="-285750">
              <a:buFont typeface="Arial" panose="020B0604020202020204" pitchFamily="34" charset="0"/>
              <a:buChar char="•"/>
            </a:pPr>
            <a:r>
              <a:rPr lang="ja-JP" altLang="en-US" dirty="0"/>
              <a:t>ユーザは画面</a:t>
            </a:r>
            <a:r>
              <a:rPr lang="en-US" altLang="ja-JP" dirty="0"/>
              <a:t>Grid</a:t>
            </a:r>
            <a:r>
              <a:rPr lang="ja-JP" altLang="en-US" dirty="0"/>
              <a:t>毎に独自設定できること</a:t>
            </a:r>
          </a:p>
        </p:txBody>
      </p:sp>
      <p:pic>
        <p:nvPicPr>
          <p:cNvPr id="3074" name="Picture 2" descr="Data Table Icons - Free SVG &amp; PNG Data Table Images - Noun Project">
            <a:extLst>
              <a:ext uri="{FF2B5EF4-FFF2-40B4-BE49-F238E27FC236}">
                <a16:creationId xmlns:a16="http://schemas.microsoft.com/office/drawing/2014/main" id="{2F5C4424-93FB-92F0-8866-02FE9EBA1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51" y="2599690"/>
            <a:ext cx="3121660" cy="31216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a:extLst>
              <a:ext uri="{FF2B5EF4-FFF2-40B4-BE49-F238E27FC236}">
                <a16:creationId xmlns:a16="http://schemas.microsoft.com/office/drawing/2014/main" id="{83EDAD6E-DA98-32A4-512A-FC93FEBFEFD1}"/>
              </a:ext>
            </a:extLst>
          </p:cNvPr>
          <p:cNvGraphicFramePr>
            <a:graphicFrameLocks noGrp="1"/>
          </p:cNvGraphicFramePr>
          <p:nvPr>
            <p:extLst>
              <p:ext uri="{D42A27DB-BD31-4B8C-83A1-F6EECF244321}">
                <p14:modId xmlns:p14="http://schemas.microsoft.com/office/powerpoint/2010/main" val="3294023929"/>
              </p:ext>
            </p:extLst>
          </p:nvPr>
        </p:nvGraphicFramePr>
        <p:xfrm>
          <a:off x="3797761" y="2518873"/>
          <a:ext cx="8107370" cy="3474720"/>
        </p:xfrm>
        <a:graphic>
          <a:graphicData uri="http://schemas.openxmlformats.org/drawingml/2006/table">
            <a:tbl>
              <a:tblPr firstRow="1" bandRow="1">
                <a:tableStyleId>{5C22544A-7EE6-4342-B048-85BDC9FD1C3A}</a:tableStyleId>
              </a:tblPr>
              <a:tblGrid>
                <a:gridCol w="1098160">
                  <a:extLst>
                    <a:ext uri="{9D8B030D-6E8A-4147-A177-3AD203B41FA5}">
                      <a16:colId xmlns:a16="http://schemas.microsoft.com/office/drawing/2014/main" val="2397676565"/>
                    </a:ext>
                  </a:extLst>
                </a:gridCol>
                <a:gridCol w="703477">
                  <a:extLst>
                    <a:ext uri="{9D8B030D-6E8A-4147-A177-3AD203B41FA5}">
                      <a16:colId xmlns:a16="http://schemas.microsoft.com/office/drawing/2014/main" val="671841962"/>
                    </a:ext>
                  </a:extLst>
                </a:gridCol>
                <a:gridCol w="900819">
                  <a:extLst>
                    <a:ext uri="{9D8B030D-6E8A-4147-A177-3AD203B41FA5}">
                      <a16:colId xmlns:a16="http://schemas.microsoft.com/office/drawing/2014/main" val="1281376549"/>
                    </a:ext>
                  </a:extLst>
                </a:gridCol>
                <a:gridCol w="900819">
                  <a:extLst>
                    <a:ext uri="{9D8B030D-6E8A-4147-A177-3AD203B41FA5}">
                      <a16:colId xmlns:a16="http://schemas.microsoft.com/office/drawing/2014/main" val="130658311"/>
                    </a:ext>
                  </a:extLst>
                </a:gridCol>
                <a:gridCol w="900819">
                  <a:extLst>
                    <a:ext uri="{9D8B030D-6E8A-4147-A177-3AD203B41FA5}">
                      <a16:colId xmlns:a16="http://schemas.microsoft.com/office/drawing/2014/main" val="3799252065"/>
                    </a:ext>
                  </a:extLst>
                </a:gridCol>
                <a:gridCol w="900819">
                  <a:extLst>
                    <a:ext uri="{9D8B030D-6E8A-4147-A177-3AD203B41FA5}">
                      <a16:colId xmlns:a16="http://schemas.microsoft.com/office/drawing/2014/main" val="1727719180"/>
                    </a:ext>
                  </a:extLst>
                </a:gridCol>
                <a:gridCol w="900819">
                  <a:extLst>
                    <a:ext uri="{9D8B030D-6E8A-4147-A177-3AD203B41FA5}">
                      <a16:colId xmlns:a16="http://schemas.microsoft.com/office/drawing/2014/main" val="3380522917"/>
                    </a:ext>
                  </a:extLst>
                </a:gridCol>
                <a:gridCol w="900819">
                  <a:extLst>
                    <a:ext uri="{9D8B030D-6E8A-4147-A177-3AD203B41FA5}">
                      <a16:colId xmlns:a16="http://schemas.microsoft.com/office/drawing/2014/main" val="2870809028"/>
                    </a:ext>
                  </a:extLst>
                </a:gridCol>
                <a:gridCol w="900819">
                  <a:extLst>
                    <a:ext uri="{9D8B030D-6E8A-4147-A177-3AD203B41FA5}">
                      <a16:colId xmlns:a16="http://schemas.microsoft.com/office/drawing/2014/main" val="1057143928"/>
                    </a:ext>
                  </a:extLst>
                </a:gridCol>
              </a:tblGrid>
              <a:tr h="157480">
                <a:tc>
                  <a:txBody>
                    <a:bodyPr/>
                    <a:lstStyle/>
                    <a:p>
                      <a:r>
                        <a:rPr kumimoji="1" lang="en-US" altLang="ja-JP" sz="1200" dirty="0" err="1"/>
                        <a:t>userid</a:t>
                      </a:r>
                      <a:endParaRPr kumimoji="1" lang="ja-JP" altLang="en-US" sz="1200" dirty="0"/>
                    </a:p>
                  </a:txBody>
                  <a:tcPr/>
                </a:tc>
                <a:tc>
                  <a:txBody>
                    <a:bodyPr/>
                    <a:lstStyle/>
                    <a:p>
                      <a:r>
                        <a:rPr kumimoji="1" lang="en-US" altLang="ja-JP" sz="1200" dirty="0"/>
                        <a:t>screen</a:t>
                      </a:r>
                      <a:endParaRPr kumimoji="1" lang="ja-JP" altLang="en-US" sz="1200" dirty="0"/>
                    </a:p>
                  </a:txBody>
                  <a:tcPr/>
                </a:tc>
                <a:tc>
                  <a:txBody>
                    <a:bodyPr/>
                    <a:lstStyle/>
                    <a:p>
                      <a:r>
                        <a:rPr kumimoji="1" lang="en-US" altLang="ja-JP" sz="1200" dirty="0" err="1"/>
                        <a:t>Gridid</a:t>
                      </a:r>
                      <a:endParaRPr kumimoji="1" lang="ja-JP" altLang="en-US" sz="1200" dirty="0"/>
                    </a:p>
                  </a:txBody>
                  <a:tcPr/>
                </a:tc>
                <a:tc>
                  <a:txBody>
                    <a:bodyPr/>
                    <a:lstStyle/>
                    <a:p>
                      <a:r>
                        <a:rPr kumimoji="1" lang="en-US" altLang="ja-JP" sz="1200" dirty="0"/>
                        <a:t>Col num</a:t>
                      </a:r>
                      <a:endParaRPr kumimoji="1" lang="ja-JP" altLang="en-US" sz="1200" dirty="0"/>
                    </a:p>
                  </a:txBody>
                  <a:tcPr/>
                </a:tc>
                <a:tc>
                  <a:txBody>
                    <a:bodyPr/>
                    <a:lstStyle/>
                    <a:p>
                      <a:r>
                        <a:rPr kumimoji="1" lang="en-US" altLang="ja-JP" sz="1200" dirty="0"/>
                        <a:t>Col Name</a:t>
                      </a:r>
                      <a:endParaRPr kumimoji="1" lang="ja-JP" altLang="en-US" sz="1200" dirty="0"/>
                    </a:p>
                  </a:txBody>
                  <a:tcPr/>
                </a:tc>
                <a:tc>
                  <a:txBody>
                    <a:bodyPr/>
                    <a:lstStyle/>
                    <a:p>
                      <a:r>
                        <a:rPr kumimoji="1" lang="en-US" altLang="ja-JP" sz="1200" dirty="0" err="1"/>
                        <a:t>Colwidth</a:t>
                      </a:r>
                      <a:endParaRPr kumimoji="1" lang="ja-JP" altLang="en-US" sz="1200" dirty="0"/>
                    </a:p>
                  </a:txBody>
                  <a:tcPr/>
                </a:tc>
                <a:tc>
                  <a:txBody>
                    <a:bodyPr/>
                    <a:lstStyle/>
                    <a:p>
                      <a:r>
                        <a:rPr kumimoji="1" lang="en-US" altLang="ja-JP" sz="1200" dirty="0" err="1"/>
                        <a:t>DispNum</a:t>
                      </a:r>
                      <a:endParaRPr kumimoji="1" lang="ja-JP" altLang="en-US" sz="1200" dirty="0"/>
                    </a:p>
                  </a:txBody>
                  <a:tcPr/>
                </a:tc>
                <a:tc>
                  <a:txBody>
                    <a:bodyPr/>
                    <a:lstStyle/>
                    <a:p>
                      <a:r>
                        <a:rPr kumimoji="1" lang="en-US" altLang="ja-JP" sz="1200" dirty="0" err="1"/>
                        <a:t>Colvisible</a:t>
                      </a:r>
                      <a:endParaRPr kumimoji="1" lang="ja-JP" altLang="en-US" sz="1200" dirty="0"/>
                    </a:p>
                  </a:txBody>
                  <a:tcPr/>
                </a:tc>
                <a:tc>
                  <a:txBody>
                    <a:bodyPr/>
                    <a:lstStyle/>
                    <a:p>
                      <a:r>
                        <a:rPr kumimoji="1" lang="en-US" altLang="ja-JP" sz="1200" dirty="0"/>
                        <a:t>…</a:t>
                      </a:r>
                      <a:endParaRPr kumimoji="1" lang="ja-JP" altLang="en-US" sz="1200" dirty="0"/>
                    </a:p>
                  </a:txBody>
                  <a:tcPr/>
                </a:tc>
                <a:extLst>
                  <a:ext uri="{0D108BD9-81ED-4DB2-BD59-A6C34878D82A}">
                    <a16:rowId xmlns:a16="http://schemas.microsoft.com/office/drawing/2014/main" val="3090158873"/>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ID</a:t>
                      </a:r>
                      <a:endParaRPr kumimoji="1" lang="ja-JP" altLang="en-US" sz="1200" dirty="0"/>
                    </a:p>
                  </a:txBody>
                  <a:tcPr/>
                </a:tc>
                <a:tc>
                  <a:txBody>
                    <a:bodyPr/>
                    <a:lstStyle/>
                    <a:p>
                      <a:r>
                        <a:rPr kumimoji="1" lang="en-US" altLang="ja-JP" sz="1200" dirty="0"/>
                        <a:t>150</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3980125211"/>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name</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2054722717"/>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email</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4132914302"/>
                  </a:ext>
                </a:extLst>
              </a:tr>
              <a:tr h="157480">
                <a:tc>
                  <a:txBody>
                    <a:bodyPr/>
                    <a:lstStyle/>
                    <a:p>
                      <a:r>
                        <a:rPr kumimoji="1" lang="en-US" altLang="ja-JP" sz="1200" dirty="0"/>
                        <a:t>….</a:t>
                      </a:r>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63137258"/>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50397744"/>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345905539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02297135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249636636"/>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1181908287"/>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24555285"/>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225539358"/>
                  </a:ext>
                </a:extLst>
              </a:tr>
            </a:tbl>
          </a:graphicData>
        </a:graphic>
      </p:graphicFrame>
      <p:sp>
        <p:nvSpPr>
          <p:cNvPr id="5" name="テキスト ボックス 4">
            <a:extLst>
              <a:ext uri="{FF2B5EF4-FFF2-40B4-BE49-F238E27FC236}">
                <a16:creationId xmlns:a16="http://schemas.microsoft.com/office/drawing/2014/main" id="{07BD27C6-F2DC-7472-D127-616D54BFA62E}"/>
              </a:ext>
            </a:extLst>
          </p:cNvPr>
          <p:cNvSpPr txBox="1"/>
          <p:nvPr/>
        </p:nvSpPr>
        <p:spPr>
          <a:xfrm>
            <a:off x="3797761" y="2237601"/>
            <a:ext cx="2778760" cy="276999"/>
          </a:xfrm>
          <a:prstGeom prst="rect">
            <a:avLst/>
          </a:prstGeom>
          <a:noFill/>
        </p:spPr>
        <p:txBody>
          <a:bodyPr wrap="square" rtlCol="0">
            <a:spAutoFit/>
          </a:bodyPr>
          <a:lstStyle/>
          <a:p>
            <a:r>
              <a:rPr kumimoji="1" lang="en-US" altLang="ja-JP" sz="1200" b="1" dirty="0" err="1"/>
              <a:t>Tbl_UserProperityes</a:t>
            </a:r>
            <a:endParaRPr kumimoji="1" lang="ja-JP" altLang="en-US" sz="1200" b="1" dirty="0"/>
          </a:p>
        </p:txBody>
      </p:sp>
      <p:sp>
        <p:nvSpPr>
          <p:cNvPr id="6" name="矢印: 左右 5">
            <a:extLst>
              <a:ext uri="{FF2B5EF4-FFF2-40B4-BE49-F238E27FC236}">
                <a16:creationId xmlns:a16="http://schemas.microsoft.com/office/drawing/2014/main" id="{9AFC5A8A-1F4E-61BF-A8DA-B444B8655B2C}"/>
              </a:ext>
            </a:extLst>
          </p:cNvPr>
          <p:cNvSpPr/>
          <p:nvPr/>
        </p:nvSpPr>
        <p:spPr>
          <a:xfrm>
            <a:off x="2868121" y="3931919"/>
            <a:ext cx="929640" cy="457201"/>
          </a:xfrm>
          <a:prstGeom prst="leftRightArrow">
            <a:avLst>
              <a:gd name="adj1" fmla="val 50000"/>
              <a:gd name="adj2" fmla="val 3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37784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データ移行</a:t>
            </a:r>
            <a:endParaRPr lang="ja-JP" altLang="en-US" dirty="0">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a:t>Notes DB</a:t>
            </a:r>
            <a:endParaRPr kumimoji="1" lang="ja-JP" altLang="en-US"/>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a:t>エクスポート</a:t>
            </a:r>
            <a:endParaRPr kumimoji="1" lang="ja-JP" altLang="en-US"/>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923330"/>
          </a:xfrm>
          <a:prstGeom prst="rect">
            <a:avLst/>
          </a:prstGeom>
          <a:noFill/>
        </p:spPr>
        <p:txBody>
          <a:bodyPr wrap="square" rtlCol="0">
            <a:spAutoFit/>
          </a:bodyPr>
          <a:lstStyle/>
          <a:p>
            <a:pPr algn="ctr"/>
            <a:r>
              <a:rPr kumimoji="1" lang="en-US" altLang="ja-JP"/>
              <a:t>Java/Python/PowerShell</a:t>
            </a:r>
          </a:p>
          <a:p>
            <a:pPr algn="ctr"/>
            <a:r>
              <a:rPr kumimoji="1" lang="ja-JP" altLang="en-US"/>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722542466"/>
              </p:ext>
            </p:extLst>
          </p:nvPr>
        </p:nvGraphicFramePr>
        <p:xfrm>
          <a:off x="535939" y="1078051"/>
          <a:ext cx="11120121" cy="207264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sz="1600"/>
                        <a:t>カテゴリ</a:t>
                      </a:r>
                    </a:p>
                  </a:txBody>
                  <a:tcPr/>
                </a:tc>
                <a:tc>
                  <a:txBody>
                    <a:bodyPr/>
                    <a:lstStyle/>
                    <a:p>
                      <a:r>
                        <a:rPr kumimoji="1" lang="en-US" altLang="ja-JP" sz="1600"/>
                        <a:t>Snf</a:t>
                      </a:r>
                      <a:r>
                        <a:rPr kumimoji="1" lang="ja-JP" altLang="en-US" sz="1600"/>
                        <a:t>数</a:t>
                      </a:r>
                      <a:endParaRPr kumimoji="1" lang="ja-JP" altLang="en-US" sz="1600" dirty="0"/>
                    </a:p>
                  </a:txBody>
                  <a:tcPr/>
                </a:tc>
                <a:tc>
                  <a:txBody>
                    <a:bodyPr/>
                    <a:lstStyle/>
                    <a:p>
                      <a:endParaRPr kumimoji="1" lang="ja-JP" altLang="en-US" sz="1600"/>
                    </a:p>
                  </a:txBody>
                  <a:tcPr/>
                </a:tc>
                <a:extLst>
                  <a:ext uri="{0D108BD9-81ED-4DB2-BD59-A6C34878D82A}">
                    <a16:rowId xmlns:a16="http://schemas.microsoft.com/office/drawing/2014/main" val="2208701059"/>
                  </a:ext>
                </a:extLst>
              </a:tr>
              <a:tr h="357921">
                <a:tc>
                  <a:txBody>
                    <a:bodyPr/>
                    <a:lstStyle/>
                    <a:p>
                      <a:r>
                        <a:rPr lang="ja-JP" altLang="en-US" sz="1600" kern="1200">
                          <a:solidFill>
                            <a:schemeClr val="dk1"/>
                          </a:solidFill>
                          <a:latin typeface="+mn-lt"/>
                          <a:ea typeface="+mn-ea"/>
                          <a:cs typeface="+mn-cs"/>
                        </a:rPr>
                        <a:t>製品仕様書管理（黄）</a:t>
                      </a:r>
                    </a:p>
                  </a:txBody>
                  <a:tcPr/>
                </a:tc>
                <a:tc>
                  <a:txBody>
                    <a:bodyPr/>
                    <a:lstStyle/>
                    <a:p>
                      <a:r>
                        <a:rPr lang="en-US" altLang="ja-JP" sz="1600" kern="1200" dirty="0">
                          <a:solidFill>
                            <a:schemeClr val="dk1"/>
                          </a:solidFill>
                          <a:latin typeface="+mn-lt"/>
                          <a:ea typeface="+mn-ea"/>
                          <a:cs typeface="+mn-cs"/>
                        </a:rPr>
                        <a:t>33</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a:t>3DB</a:t>
                      </a:r>
                      <a:r>
                        <a:rPr lang="ja-JP" altLang="en-US" sz="1600"/>
                        <a:t>で</a:t>
                      </a:r>
                      <a:r>
                        <a:rPr lang="en-US" altLang="ja-JP" sz="1600"/>
                        <a:t>1</a:t>
                      </a:r>
                      <a:r>
                        <a:rPr lang="ja-JP" altLang="en-US" sz="1600"/>
                        <a:t>セットとなる構成（同一設計）</a:t>
                      </a:r>
                      <a:br>
                        <a:rPr lang="en-US" altLang="ja-JP" sz="1600"/>
                      </a:br>
                      <a:r>
                        <a:rPr lang="en-US" altLang="ja-JP" sz="1600"/>
                        <a:t>※</a:t>
                      </a:r>
                      <a:r>
                        <a:rPr kumimoji="1" lang="ja-JP" altLang="en-US" sz="1600"/>
                        <a:t>製品仕様書管理</a:t>
                      </a:r>
                      <a:r>
                        <a:rPr kumimoji="1" lang="en-US" altLang="ja-JP" sz="1600"/>
                        <a:t>DB/</a:t>
                      </a:r>
                      <a:r>
                        <a:rPr lang="ja-JP" altLang="en-US" sz="1600"/>
                        <a:t>関連文書</a:t>
                      </a:r>
                      <a:r>
                        <a:rPr lang="en-US" altLang="ja-JP" sz="1600"/>
                        <a:t>DB/</a:t>
                      </a:r>
                      <a:r>
                        <a:rPr kumimoji="1" lang="ja-JP" altLang="en-US" sz="1600"/>
                        <a:t>品質情報</a:t>
                      </a:r>
                      <a:r>
                        <a:rPr kumimoji="1" lang="en-US" altLang="ja-JP" sz="1600"/>
                        <a:t>M</a:t>
                      </a:r>
                    </a:p>
                  </a:txBody>
                  <a:tcPr/>
                </a:tc>
                <a:extLst>
                  <a:ext uri="{0D108BD9-81ED-4DB2-BD59-A6C34878D82A}">
                    <a16:rowId xmlns:a16="http://schemas.microsoft.com/office/drawing/2014/main" val="3179909173"/>
                  </a:ext>
                </a:extLst>
              </a:tr>
              <a:tr h="664710">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納入仕様書管理（青）</a:t>
                      </a:r>
                      <a:r>
                        <a:rPr lang="en-US" altLang="ja-JP" sz="1600" kern="1200">
                          <a:solidFill>
                            <a:schemeClr val="dk1"/>
                          </a:solidFill>
                          <a:latin typeface="+mn-lt"/>
                          <a:ea typeface="+mn-ea"/>
                          <a:cs typeface="+mn-cs"/>
                        </a:rPr>
                        <a:t>】</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12</a:t>
                      </a:r>
                      <a:endParaRPr lang="ja-JP" altLang="en-US" sz="16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600"/>
                        <a:t>納入仕様書管理</a:t>
                      </a:r>
                      <a:r>
                        <a:rPr lang="en-US" altLang="ja-JP" sz="1600"/>
                        <a:t>1DB</a:t>
                      </a:r>
                      <a:r>
                        <a:rPr lang="ja-JP" altLang="en-US" sz="1600"/>
                        <a:t>を複数の事業部で利用する構成（同一設計）</a:t>
                      </a:r>
                      <a:br>
                        <a:rPr lang="en-US" altLang="ja-JP" sz="1600"/>
                      </a:br>
                      <a:r>
                        <a:rPr lang="en-US" altLang="ja-JP" sz="1600"/>
                        <a:t>※</a:t>
                      </a:r>
                      <a:r>
                        <a:rPr lang="ja-JP" altLang="en-US" sz="1600"/>
                        <a:t>仕様書関連文書</a:t>
                      </a:r>
                      <a:r>
                        <a:rPr lang="en-US" altLang="ja-JP" sz="1600"/>
                        <a:t>DB/</a:t>
                      </a:r>
                      <a:r>
                        <a:rPr lang="ja-JP" altLang="en-US" sz="1600"/>
                        <a:t>品質情報マスター</a:t>
                      </a:r>
                      <a:endParaRPr lang="en-US" altLang="ja-JP" sz="1600"/>
                    </a:p>
                    <a:p>
                      <a:pPr marL="171450" indent="-171450">
                        <a:buFont typeface="Arial" panose="020B0604020202020204" pitchFamily="34" charset="0"/>
                        <a:buChar char="•"/>
                      </a:pPr>
                      <a:r>
                        <a:rPr lang="ja-JP" altLang="en-US" sz="1600"/>
                        <a:t>アーカイブ用の</a:t>
                      </a:r>
                      <a:r>
                        <a:rPr lang="en-US" altLang="ja-JP" sz="1600"/>
                        <a:t>DB</a:t>
                      </a:r>
                      <a:r>
                        <a:rPr lang="ja-JP" altLang="en-US" sz="1600"/>
                        <a:t>を持つ構成</a:t>
                      </a:r>
                      <a:endParaRPr lang="en-US" altLang="ja-JP" sz="1600"/>
                    </a:p>
                  </a:txBody>
                  <a:tcPr/>
                </a:tc>
                <a:extLst>
                  <a:ext uri="{0D108BD9-81ED-4DB2-BD59-A6C34878D82A}">
                    <a16:rowId xmlns:a16="http://schemas.microsoft.com/office/drawing/2014/main" val="3928298953"/>
                  </a:ext>
                </a:extLst>
              </a:tr>
              <a:tr h="204526">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その他個別</a:t>
                      </a:r>
                      <a:r>
                        <a:rPr lang="en-US" altLang="ja-JP" sz="1600" kern="1200">
                          <a:solidFill>
                            <a:schemeClr val="dk1"/>
                          </a:solidFill>
                          <a:latin typeface="+mn-lt"/>
                          <a:ea typeface="+mn-ea"/>
                          <a:cs typeface="+mn-cs"/>
                        </a:rPr>
                        <a:t>DB】</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8</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t>それぞれ設計が異なり、独立した構成</a:t>
                      </a:r>
                      <a:endParaRPr lang="en-US" altLang="ja-JP" sz="16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normAutofit/>
          </a:bodyPr>
          <a:lstStyle/>
          <a:p>
            <a:r>
              <a:rPr lang="ja-JP" altLang="en-US" dirty="0"/>
              <a:t>機能一覧</a:t>
            </a:r>
            <a:r>
              <a:rPr lang="en-US" altLang="ja-JP" sz="1600" dirty="0">
                <a:solidFill>
                  <a:srgbClr val="FF0000"/>
                </a:solidFill>
              </a:rPr>
              <a:t>※</a:t>
            </a:r>
            <a:r>
              <a:rPr lang="ja-JP" altLang="en-US" sz="1600" dirty="0">
                <a:solidFill>
                  <a:srgbClr val="FF0000"/>
                </a:solidFill>
              </a:rPr>
              <a:t>ご提示頂いた「</a:t>
            </a:r>
            <a:r>
              <a:rPr lang="en-US" altLang="ja-JP" sz="1600" dirty="0">
                <a:solidFill>
                  <a:srgbClr val="FF0000"/>
                </a:solidFill>
              </a:rPr>
              <a:t>【</a:t>
            </a:r>
            <a:r>
              <a:rPr lang="ja-JP" altLang="en-US" sz="1600" dirty="0">
                <a:solidFill>
                  <a:srgbClr val="FF0000"/>
                </a:solidFill>
              </a:rPr>
              <a:t>新アプリ</a:t>
            </a:r>
            <a:r>
              <a:rPr lang="en-US" altLang="ja-JP" sz="1600" dirty="0">
                <a:solidFill>
                  <a:srgbClr val="FF0000"/>
                </a:solidFill>
              </a:rPr>
              <a:t>】</a:t>
            </a:r>
            <a:r>
              <a:rPr lang="ja-JP" altLang="en-US" sz="1600" dirty="0">
                <a:solidFill>
                  <a:srgbClr val="FF0000"/>
                </a:solidFill>
              </a:rPr>
              <a:t>機能要件一覧 </a:t>
            </a:r>
            <a:r>
              <a:rPr lang="en-US" altLang="ja-JP" sz="1600" dirty="0">
                <a:solidFill>
                  <a:srgbClr val="FF0000"/>
                </a:solidFill>
              </a:rPr>
              <a:t>V1.1.xlsx</a:t>
            </a:r>
            <a:r>
              <a:rPr lang="ja-JP" altLang="en-US" sz="1600" dirty="0">
                <a:solidFill>
                  <a:srgbClr val="FF0000"/>
                </a:solidFill>
              </a:rPr>
              <a:t>」の中項目単位で抽出</a:t>
            </a:r>
            <a:endParaRPr lang="ja-JP" altLang="en-US" dirty="0">
              <a:effectLst/>
            </a:endParaRPr>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extLst>
              <p:ext uri="{D42A27DB-BD31-4B8C-83A1-F6EECF244321}">
                <p14:modId xmlns:p14="http://schemas.microsoft.com/office/powerpoint/2010/main" val="261428861"/>
              </p:ext>
            </p:extLst>
          </p:nvPr>
        </p:nvGraphicFramePr>
        <p:xfrm>
          <a:off x="288130" y="77966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490570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extLst>
              <p:ext uri="{D42A27DB-BD31-4B8C-83A1-F6EECF244321}">
                <p14:modId xmlns:p14="http://schemas.microsoft.com/office/powerpoint/2010/main" val="2144954677"/>
              </p:ext>
            </p:extLst>
          </p:nvPr>
        </p:nvGraphicFramePr>
        <p:xfrm>
          <a:off x="288130" y="83046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dirty="0">
                          <a:solidFill>
                            <a:srgbClr val="000000"/>
                          </a:solidFill>
                          <a:effectLst/>
                          <a:latin typeface="游ゴシック 本文"/>
                          <a:ea typeface="ＭＳ Ｐゴシック" panose="020B0600070205080204" pitchFamily="50" charset="-128"/>
                        </a:rPr>
                        <a:t>PDF</a:t>
                      </a:r>
                      <a:r>
                        <a:rPr lang="ja-JP" altLang="en-US" sz="800" b="0" i="0" u="none" strike="noStrike" dirty="0">
                          <a:solidFill>
                            <a:srgbClr val="000000"/>
                          </a:solidFill>
                          <a:effectLst/>
                          <a:latin typeface="游ゴシック 本文"/>
                          <a:ea typeface="ＭＳ Ｐゴシック" panose="020B0600070205080204" pitchFamily="50" charset="-128"/>
                        </a:rPr>
                        <a:t>形式で出力し、</a:t>
                      </a:r>
                      <a:r>
                        <a:rPr lang="en-US" altLang="ja-JP" sz="800" b="0" i="0" u="none" strike="noStrike" dirty="0">
                          <a:solidFill>
                            <a:srgbClr val="000000"/>
                          </a:solidFill>
                          <a:effectLst/>
                          <a:latin typeface="游ゴシック 本文"/>
                          <a:ea typeface="ＭＳ Ｐゴシック" panose="020B0600070205080204" pitchFamily="50" charset="-128"/>
                        </a:rPr>
                        <a:t>PDF</a:t>
                      </a:r>
                      <a:r>
                        <a:rPr lang="ja-JP" altLang="en-US" sz="800" b="0" i="0" u="none" strike="noStrike" dirty="0">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670289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extLst>
              <p:ext uri="{D42A27DB-BD31-4B8C-83A1-F6EECF244321}">
                <p14:modId xmlns:p14="http://schemas.microsoft.com/office/powerpoint/2010/main" val="128173283"/>
              </p:ext>
            </p:extLst>
          </p:nvPr>
        </p:nvGraphicFramePr>
        <p:xfrm>
          <a:off x="288130" y="84062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3766533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前書き</a:t>
            </a:r>
            <a:endParaRPr kumimoji="1" lang="ja-JP" altLang="en-US" dirty="0"/>
          </a:p>
        </p:txBody>
      </p:sp>
      <p:sp>
        <p:nvSpPr>
          <p:cNvPr id="15" name="テキスト ボックス 14"/>
          <p:cNvSpPr txBox="1"/>
          <p:nvPr/>
        </p:nvSpPr>
        <p:spPr>
          <a:xfrm>
            <a:off x="363536" y="1265595"/>
            <a:ext cx="1147794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lang="ja-JP" altLang="en-US" dirty="0">
                <a:latin typeface="Yu Gothic UI" panose="020B0500000000000000" pitchFamily="50" charset="-128"/>
                <a:ea typeface="Yu Gothic UI" panose="020B0500000000000000" pitchFamily="50" charset="-128"/>
              </a:rPr>
              <a:t>今回の提案に当たり、貴社が推奨・利用している技術基盤を基に、構築と運用のコストを最小限に抑えることを優先に</a:t>
            </a:r>
            <a:endParaRPr lang="en-US" altLang="ja-JP" dirty="0">
              <a:latin typeface="Yu Gothic UI" panose="020B0500000000000000" pitchFamily="50" charset="-128"/>
              <a:ea typeface="Yu Gothic UI" panose="020B0500000000000000" pitchFamily="50" charset="-128"/>
            </a:endParaRPr>
          </a:p>
          <a:p>
            <a:r>
              <a:rPr lang="en-US" altLang="ja-JP" dirty="0">
                <a:latin typeface="Yu Gothic UI" panose="020B0500000000000000" pitchFamily="50" charset="-128"/>
                <a:ea typeface="Yu Gothic UI" panose="020B0500000000000000" pitchFamily="50" charset="-128"/>
              </a:rPr>
              <a:t>		</a:t>
            </a:r>
            <a:r>
              <a:rPr lang="en-US" altLang="ja-JP" sz="2800" dirty="0">
                <a:latin typeface="Yu Gothic UI" panose="020B0500000000000000" pitchFamily="50" charset="-128"/>
                <a:ea typeface="Yu Gothic UI" panose="020B0500000000000000" pitchFamily="50" charset="-128"/>
              </a:rPr>
              <a:t>PowerPlatform+Office365+SqlServer</a:t>
            </a:r>
          </a:p>
          <a:p>
            <a:r>
              <a:rPr lang="ja-JP" altLang="en-US" dirty="0">
                <a:latin typeface="Yu Gothic UI" panose="020B0500000000000000" pitchFamily="50" charset="-128"/>
                <a:ea typeface="Yu Gothic UI" panose="020B0500000000000000" pitchFamily="50" charset="-128"/>
              </a:rPr>
              <a:t>での構築方法を提案させていただきます。</a:t>
            </a:r>
            <a:endParaRPr lang="en-US" altLang="ja-JP"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extLst>
              <p:ext uri="{D42A27DB-BD31-4B8C-83A1-F6EECF244321}">
                <p14:modId xmlns:p14="http://schemas.microsoft.com/office/powerpoint/2010/main" val="4168413722"/>
              </p:ext>
            </p:extLst>
          </p:nvPr>
        </p:nvGraphicFramePr>
        <p:xfrm>
          <a:off x="327974" y="896508"/>
          <a:ext cx="11615740" cy="5016611"/>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69428">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25787044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スク</a:t>
            </a:r>
            <a:endParaRPr lang="zh-CN" altLang="en-US" dirty="0"/>
          </a:p>
        </p:txBody>
      </p:sp>
      <p:graphicFrame>
        <p:nvGraphicFramePr>
          <p:cNvPr id="4" name="表 3">
            <a:extLst>
              <a:ext uri="{FF2B5EF4-FFF2-40B4-BE49-F238E27FC236}">
                <a16:creationId xmlns:a16="http://schemas.microsoft.com/office/drawing/2014/main" id="{9364F8F7-8993-8F9F-93B4-950689A63292}"/>
              </a:ext>
            </a:extLst>
          </p:cNvPr>
          <p:cNvGraphicFramePr>
            <a:graphicFrameLocks noGrp="1"/>
          </p:cNvGraphicFramePr>
          <p:nvPr>
            <p:extLst>
              <p:ext uri="{D42A27DB-BD31-4B8C-83A1-F6EECF244321}">
                <p14:modId xmlns:p14="http://schemas.microsoft.com/office/powerpoint/2010/main" val="270036675"/>
              </p:ext>
            </p:extLst>
          </p:nvPr>
        </p:nvGraphicFramePr>
        <p:xfrm>
          <a:off x="532873" y="938892"/>
          <a:ext cx="11126254" cy="4974518"/>
        </p:xfrm>
        <a:graphic>
          <a:graphicData uri="http://schemas.openxmlformats.org/drawingml/2006/table">
            <a:tbl>
              <a:tblPr firstRow="1" bandRow="1">
                <a:tableStyleId>{7DF18680-E054-41AD-8BC1-D1AEF772440D}</a:tableStyleId>
              </a:tblPr>
              <a:tblGrid>
                <a:gridCol w="467456">
                  <a:extLst>
                    <a:ext uri="{9D8B030D-6E8A-4147-A177-3AD203B41FA5}">
                      <a16:colId xmlns:a16="http://schemas.microsoft.com/office/drawing/2014/main" val="2481844383"/>
                    </a:ext>
                  </a:extLst>
                </a:gridCol>
                <a:gridCol w="2340279">
                  <a:extLst>
                    <a:ext uri="{9D8B030D-6E8A-4147-A177-3AD203B41FA5}">
                      <a16:colId xmlns:a16="http://schemas.microsoft.com/office/drawing/2014/main" val="2412485662"/>
                    </a:ext>
                  </a:extLst>
                </a:gridCol>
                <a:gridCol w="1679091">
                  <a:extLst>
                    <a:ext uri="{9D8B030D-6E8A-4147-A177-3AD203B41FA5}">
                      <a16:colId xmlns:a16="http://schemas.microsoft.com/office/drawing/2014/main" val="1209637643"/>
                    </a:ext>
                  </a:extLst>
                </a:gridCol>
                <a:gridCol w="6639428">
                  <a:extLst>
                    <a:ext uri="{9D8B030D-6E8A-4147-A177-3AD203B41FA5}">
                      <a16:colId xmlns:a16="http://schemas.microsoft.com/office/drawing/2014/main" val="187323411"/>
                    </a:ext>
                  </a:extLst>
                </a:gridCol>
              </a:tblGrid>
              <a:tr h="305092">
                <a:tc>
                  <a:txBody>
                    <a:bodyPr/>
                    <a:lstStyle/>
                    <a:p>
                      <a:pPr marL="0" algn="ctr" defTabSz="914400" rtl="0" eaLnBrk="1" fontAlgn="b" latinLnBrk="0" hangingPunct="1"/>
                      <a:r>
                        <a:rPr lang="en-US" altLang="ja-JP" sz="1100" b="0" i="0" u="none" strike="noStrike" kern="1200">
                          <a:solidFill>
                            <a:schemeClr val="bg1"/>
                          </a:solidFill>
                          <a:effectLst/>
                          <a:latin typeface="Meiryo UI" panose="020B0604030504040204" pitchFamily="50" charset="-128"/>
                          <a:ea typeface="Meiryo UI" panose="020B0604030504040204" pitchFamily="50" charset="-128"/>
                          <a:cs typeface="+mn-cs"/>
                        </a:rPr>
                        <a:t>No.</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リスク内容</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rPr>
                        <a:t>分類</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説明</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239716863"/>
                  </a:ext>
                </a:extLst>
              </a:tr>
              <a:tr h="424333">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1</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a:t>データ移行時の整合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データ</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会社毎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UA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を契約、実施</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597438182"/>
                  </a:ext>
                </a:extLst>
              </a:tr>
              <a:tr h="305092">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2</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a:t>Office</a:t>
                      </a:r>
                      <a:r>
                        <a:rPr lang="ja-JP" altLang="en-US" sz="1100"/>
                        <a:t>統合の互換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標準業務用機器（予インストールオフィスバージョンに限定）</a:t>
                      </a:r>
                    </a:p>
                  </a:txBody>
                  <a:tcPr marL="0" marR="0" marT="0" marB="0" anchor="ctr"/>
                </a:tc>
                <a:extLst>
                  <a:ext uri="{0D108BD9-81ED-4DB2-BD59-A6C34878D82A}">
                    <a16:rowId xmlns:a16="http://schemas.microsoft.com/office/drawing/2014/main" val="2178132955"/>
                  </a:ext>
                </a:extLst>
              </a:tr>
              <a:tr h="1220365">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各社の具体操作面に差異が出る</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具体業務</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変更</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Buffer</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を事前に用意</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３</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分けて開発計画</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1</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は機能主体、すべてのパターンをカバー</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2,3</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は段階的に展開、個別要望対応、検収</a:t>
                      </a:r>
                    </a:p>
                  </a:txBody>
                  <a:tcPr marL="0" marR="0" marT="0" marB="0" anchor="ctr"/>
                </a:tc>
                <a:extLst>
                  <a:ext uri="{0D108BD9-81ED-4DB2-BD59-A6C34878D82A}">
                    <a16:rowId xmlns:a16="http://schemas.microsoft.com/office/drawing/2014/main" val="2707901240"/>
                  </a:ext>
                </a:extLst>
              </a:tr>
              <a:tr h="305092">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a:solidFill>
                            <a:schemeClr val="tx1"/>
                          </a:solidFill>
                          <a:effectLst/>
                          <a:latin typeface="+mn-lt"/>
                          <a:ea typeface="+mn-ea"/>
                          <a:cs typeface="+mn-cs"/>
                        </a:rPr>
                        <a:t>Guest</a:t>
                      </a:r>
                      <a:r>
                        <a:rPr lang="ja-JP" altLang="en-US" sz="1100" b="0" u="none" strike="noStrike" kern="1200">
                          <a:solidFill>
                            <a:schemeClr val="tx1"/>
                          </a:solidFill>
                          <a:effectLst/>
                          <a:latin typeface="+mn-lt"/>
                          <a:ea typeface="+mn-ea"/>
                          <a:cs typeface="+mn-cs"/>
                        </a:rPr>
                        <a:t>ユーザの対応</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非</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 Domain</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ユーザの利用可能性検討。必要な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PO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検証、依存性処理</a:t>
                      </a:r>
                    </a:p>
                  </a:txBody>
                  <a:tcPr marL="0" marR="0" marT="0" marB="0" anchor="ctr"/>
                </a:tc>
                <a:extLst>
                  <a:ext uri="{0D108BD9-81ED-4DB2-BD59-A6C34878D82A}">
                    <a16:rowId xmlns:a16="http://schemas.microsoft.com/office/drawing/2014/main" val="3123786813"/>
                  </a:ext>
                </a:extLst>
              </a:tr>
              <a:tr h="1194176">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添付ファイルの保存</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すべて可能ですが、</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B</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iz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が膨大になる恐れがあります。（費用と保守に影響）</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できますが、添付ファイルの検索に実案件の経験がなく、リスク高く、お薦めしたい（</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Vesta</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はこの案を利用、但し、添付ファイルの検索要件がない）。</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されるもの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内蔵の検索機能を活用すれば、運用保守へ影響がなく、開発にもリスクも限定（弊社は他社案件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otne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クライアントから</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利用経験があり）</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872179259"/>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36244276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61228384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562567830"/>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14068265"/>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スケジュール表</a:t>
            </a:r>
            <a:endParaRPr lang="zh-CN" altLang="en-US" dirty="0">
              <a:effectLst/>
            </a:endParaRPr>
          </a:p>
        </p:txBody>
      </p:sp>
      <p:sp>
        <p:nvSpPr>
          <p:cNvPr id="10" name="四角形: 角を丸くする 9">
            <a:extLst>
              <a:ext uri="{FF2B5EF4-FFF2-40B4-BE49-F238E27FC236}">
                <a16:creationId xmlns:a16="http://schemas.microsoft.com/office/drawing/2014/main" id="{E44B76A0-0272-1390-DBE5-63E5B5A913F3}"/>
              </a:ext>
            </a:extLst>
          </p:cNvPr>
          <p:cNvSpPr/>
          <p:nvPr/>
        </p:nvSpPr>
        <p:spPr bwMode="gray">
          <a:xfrm>
            <a:off x="1066803" y="1804885"/>
            <a:ext cx="10398783" cy="4012364"/>
          </a:xfrm>
          <a:prstGeom prst="roundRect">
            <a:avLst>
              <a:gd name="adj" fmla="val 3324"/>
            </a:avLst>
          </a:prstGeom>
          <a:gradFill>
            <a:gsLst>
              <a:gs pos="0">
                <a:srgbClr val="FFC000"/>
              </a:gs>
              <a:gs pos="50000">
                <a:srgbClr val="FDF0CC"/>
              </a:gs>
              <a:gs pos="100000">
                <a:schemeClr val="accent6">
                  <a:lumMod val="105000"/>
                  <a:satMod val="109000"/>
                  <a:tint val="81000"/>
                </a:schemeClr>
              </a:gs>
            </a:gsLst>
          </a:gradFill>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Arial"/>
                <a:ea typeface="Yu Gothic UI"/>
                <a:cs typeface="Arial"/>
              </a:rPr>
              <a:t>UI見直す、DB統合再構築</a:t>
            </a:r>
          </a:p>
        </p:txBody>
      </p:sp>
      <p:sp>
        <p:nvSpPr>
          <p:cNvPr id="11" name="四角形: 角を丸くする 10">
            <a:extLst>
              <a:ext uri="{FF2B5EF4-FFF2-40B4-BE49-F238E27FC236}">
                <a16:creationId xmlns:a16="http://schemas.microsoft.com/office/drawing/2014/main" id="{6A18FCF6-A3B7-3D27-D4BA-7CA8D7ADD3BF}"/>
              </a:ext>
            </a:extLst>
          </p:cNvPr>
          <p:cNvSpPr/>
          <p:nvPr/>
        </p:nvSpPr>
        <p:spPr bwMode="gray">
          <a:xfrm>
            <a:off x="1238487" y="2012697"/>
            <a:ext cx="275496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rPr>
              <a:t>POC</a:t>
            </a:r>
            <a:endParaRPr kumimoji="0" lang="ja-JP" altLang="en-US"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endParaRPr>
          </a:p>
        </p:txBody>
      </p:sp>
      <p:sp>
        <p:nvSpPr>
          <p:cNvPr id="12" name="四角形: 角を丸くする 11">
            <a:extLst>
              <a:ext uri="{FF2B5EF4-FFF2-40B4-BE49-F238E27FC236}">
                <a16:creationId xmlns:a16="http://schemas.microsoft.com/office/drawing/2014/main" id="{99C8C7D3-4385-E7F7-5D50-FB6089D5BD87}"/>
              </a:ext>
            </a:extLst>
          </p:cNvPr>
          <p:cNvSpPr/>
          <p:nvPr/>
        </p:nvSpPr>
        <p:spPr bwMode="gray">
          <a:xfrm>
            <a:off x="1936526" y="3453513"/>
            <a:ext cx="205692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詳細設計（画面）</a:t>
            </a:r>
          </a:p>
        </p:txBody>
      </p:sp>
      <p:sp>
        <p:nvSpPr>
          <p:cNvPr id="13" name="四角形: 角を丸くする 12">
            <a:extLst>
              <a:ext uri="{FF2B5EF4-FFF2-40B4-BE49-F238E27FC236}">
                <a16:creationId xmlns:a16="http://schemas.microsoft.com/office/drawing/2014/main" id="{20F437F9-F1E3-7A6E-D183-3524B7764422}"/>
              </a:ext>
            </a:extLst>
          </p:cNvPr>
          <p:cNvSpPr/>
          <p:nvPr/>
        </p:nvSpPr>
        <p:spPr bwMode="gray">
          <a:xfrm>
            <a:off x="4036547" y="3132693"/>
            <a:ext cx="3049502" cy="630763"/>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開発、</a:t>
            </a:r>
            <a:r>
              <a:rPr kumimoji="0" lang="ja-JP" altLang="en-US" sz="1200" kern="0">
                <a:solidFill>
                  <a:prstClr val="black"/>
                </a:solidFill>
                <a:latin typeface="Arial"/>
                <a:ea typeface="Yu Gothic UI"/>
                <a:cs typeface="Arial" panose="020B0604020202020204" pitchFamily="34" charset="0"/>
              </a:rPr>
              <a:t>機能</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試験</a:t>
            </a:r>
            <a:endParaRPr kumimoji="0" lang="en-US" altLang="ja-JP" sz="1200" kern="0">
              <a:solidFill>
                <a:prstClr val="black"/>
              </a:solidFill>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すべてパターン</a:t>
            </a:r>
            <a:r>
              <a:rPr kumimoji="0" lang="ja-JP" altLang="en-US" sz="1200" kern="0">
                <a:solidFill>
                  <a:prstClr val="black"/>
                </a:solidFill>
                <a:latin typeface="Arial"/>
                <a:ea typeface="Yu Gothic UI"/>
                <a:cs typeface="Arial" panose="020B0604020202020204" pitchFamily="34" charset="0"/>
              </a:rPr>
              <a:t>をカバー</a:t>
            </a:r>
            <a:r>
              <a:rPr kumimoji="0" lang="en-US" altLang="ja-JP" sz="1200" kern="0">
                <a:solidFill>
                  <a:prstClr val="black"/>
                </a:solidFill>
                <a:latin typeface="Arial"/>
                <a:ea typeface="Yu Gothic UI"/>
                <a:cs typeface="Arial" panose="020B0604020202020204" pitchFamily="34" charset="0"/>
              </a:rPr>
              <a:t>(10DB</a:t>
            </a:r>
            <a:r>
              <a:rPr kumimoji="0" lang="ja-JP" altLang="en-US" sz="1200" kern="0">
                <a:solidFill>
                  <a:prstClr val="black"/>
                </a:solidFill>
                <a:latin typeface="Arial"/>
                <a:ea typeface="Yu Gothic UI"/>
                <a:cs typeface="Arial" panose="020B0604020202020204" pitchFamily="34" charset="0"/>
              </a:rPr>
              <a:t>程度</a:t>
            </a:r>
            <a:r>
              <a:rPr kumimoji="0" lang="en-US" altLang="ja-JP" sz="1200" kern="0">
                <a:solidFill>
                  <a:prstClr val="black"/>
                </a:solidFill>
                <a:latin typeface="Arial"/>
                <a:ea typeface="Yu Gothic UI"/>
                <a:cs typeface="Arial" panose="020B0604020202020204" pitchFamily="34" charset="0"/>
              </a:rPr>
              <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14" name="四角形: 角を丸くする 13">
            <a:extLst>
              <a:ext uri="{FF2B5EF4-FFF2-40B4-BE49-F238E27FC236}">
                <a16:creationId xmlns:a16="http://schemas.microsoft.com/office/drawing/2014/main" id="{42AE617F-8791-7DF1-3A74-EE8EFFB19FB9}"/>
              </a:ext>
            </a:extLst>
          </p:cNvPr>
          <p:cNvSpPr/>
          <p:nvPr/>
        </p:nvSpPr>
        <p:spPr bwMode="gray">
          <a:xfrm>
            <a:off x="4067773" y="3867352"/>
            <a:ext cx="302477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移行ツールの計画と実装</a:t>
            </a:r>
          </a:p>
        </p:txBody>
      </p:sp>
      <p:sp>
        <p:nvSpPr>
          <p:cNvPr id="21" name="四角形: 角を丸くする 20">
            <a:extLst>
              <a:ext uri="{FF2B5EF4-FFF2-40B4-BE49-F238E27FC236}">
                <a16:creationId xmlns:a16="http://schemas.microsoft.com/office/drawing/2014/main" id="{0185A894-7F68-5B0F-70C1-8F0154D2E469}"/>
              </a:ext>
            </a:extLst>
          </p:cNvPr>
          <p:cNvSpPr/>
          <p:nvPr/>
        </p:nvSpPr>
        <p:spPr bwMode="gray">
          <a:xfrm>
            <a:off x="7131729" y="3130324"/>
            <a:ext cx="1577386" cy="62492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MCC</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様受け入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22" name="四角形: 角を丸くする 21">
            <a:extLst>
              <a:ext uri="{FF2B5EF4-FFF2-40B4-BE49-F238E27FC236}">
                <a16:creationId xmlns:a16="http://schemas.microsoft.com/office/drawing/2014/main" id="{EB6975E9-868C-47F9-4909-53F9D70BFA82}"/>
              </a:ext>
            </a:extLst>
          </p:cNvPr>
          <p:cNvSpPr/>
          <p:nvPr/>
        </p:nvSpPr>
        <p:spPr bwMode="gray">
          <a:xfrm>
            <a:off x="6432858" y="4199344"/>
            <a:ext cx="112089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マニュアル作成</a:t>
            </a:r>
          </a:p>
        </p:txBody>
      </p:sp>
      <p:cxnSp>
        <p:nvCxnSpPr>
          <p:cNvPr id="23" name="直線コネクタ 22">
            <a:extLst>
              <a:ext uri="{FF2B5EF4-FFF2-40B4-BE49-F238E27FC236}">
                <a16:creationId xmlns:a16="http://schemas.microsoft.com/office/drawing/2014/main" id="{7B2622C9-FE18-4EEA-99F0-F0B9566DBAE0}"/>
              </a:ext>
            </a:extLst>
          </p:cNvPr>
          <p:cNvCxnSpPr>
            <a:cxnSpLocks/>
          </p:cNvCxnSpPr>
          <p:nvPr/>
        </p:nvCxnSpPr>
        <p:spPr>
          <a:xfrm>
            <a:off x="966642" y="6042285"/>
            <a:ext cx="10800000" cy="0"/>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AE04A841-4639-C043-F74D-71AD70D00E3D}"/>
              </a:ext>
            </a:extLst>
          </p:cNvPr>
          <p:cNvCxnSpPr>
            <a:cxnSpLocks/>
          </p:cNvCxnSpPr>
          <p:nvPr/>
        </p:nvCxnSpPr>
        <p:spPr>
          <a:xfrm>
            <a:off x="1251467"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CF32C160-0CED-0FB0-17B3-526417809500}"/>
              </a:ext>
            </a:extLst>
          </p:cNvPr>
          <p:cNvCxnSpPr>
            <a:cxnSpLocks/>
          </p:cNvCxnSpPr>
          <p:nvPr/>
        </p:nvCxnSpPr>
        <p:spPr>
          <a:xfrm>
            <a:off x="1131500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A40DED7-F6C5-1274-5BF1-856D41DBE13F}"/>
              </a:ext>
            </a:extLst>
          </p:cNvPr>
          <p:cNvCxnSpPr>
            <a:cxnSpLocks/>
          </p:cNvCxnSpPr>
          <p:nvPr/>
        </p:nvCxnSpPr>
        <p:spPr>
          <a:xfrm>
            <a:off x="398130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226E2F55-DA54-8165-0877-CB3D3DD429F4}"/>
              </a:ext>
            </a:extLst>
          </p:cNvPr>
          <p:cNvCxnSpPr>
            <a:cxnSpLocks/>
          </p:cNvCxnSpPr>
          <p:nvPr/>
        </p:nvCxnSpPr>
        <p:spPr>
          <a:xfrm>
            <a:off x="7132064"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05949E1F-4FA5-F31B-BEC6-9F4AEDD59826}"/>
              </a:ext>
            </a:extLst>
          </p:cNvPr>
          <p:cNvCxnSpPr>
            <a:cxnSpLocks/>
          </p:cNvCxnSpPr>
          <p:nvPr/>
        </p:nvCxnSpPr>
        <p:spPr>
          <a:xfrm>
            <a:off x="948128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8A4E1765-5EB8-9556-412C-EE2ACFBB11FA}"/>
              </a:ext>
            </a:extLst>
          </p:cNvPr>
          <p:cNvSpPr txBox="1"/>
          <p:nvPr/>
        </p:nvSpPr>
        <p:spPr>
          <a:xfrm>
            <a:off x="1295149"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1/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2" name="テキスト ボックス 31">
            <a:extLst>
              <a:ext uri="{FF2B5EF4-FFF2-40B4-BE49-F238E27FC236}">
                <a16:creationId xmlns:a16="http://schemas.microsoft.com/office/drawing/2014/main" id="{75D896C3-1B62-79A9-025B-DA7A49AFB8AE}"/>
              </a:ext>
            </a:extLst>
          </p:cNvPr>
          <p:cNvSpPr txBox="1"/>
          <p:nvPr/>
        </p:nvSpPr>
        <p:spPr>
          <a:xfrm>
            <a:off x="4065715" y="5857519"/>
            <a:ext cx="669077" cy="13026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6</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3" name="テキスト ボックス 32">
            <a:extLst>
              <a:ext uri="{FF2B5EF4-FFF2-40B4-BE49-F238E27FC236}">
                <a16:creationId xmlns:a16="http://schemas.microsoft.com/office/drawing/2014/main" id="{FDFB3CBF-574A-7598-3BE2-A3A922FB82C2}"/>
              </a:ext>
            </a:extLst>
          </p:cNvPr>
          <p:cNvSpPr txBox="1"/>
          <p:nvPr/>
        </p:nvSpPr>
        <p:spPr>
          <a:xfrm>
            <a:off x="8818224" y="5850414"/>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8/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4" name="テキスト ボックス 33">
            <a:extLst>
              <a:ext uri="{FF2B5EF4-FFF2-40B4-BE49-F238E27FC236}">
                <a16:creationId xmlns:a16="http://schemas.microsoft.com/office/drawing/2014/main" id="{ADC1CB54-7557-F51B-A295-A98362CFC3C2}"/>
              </a:ext>
            </a:extLst>
          </p:cNvPr>
          <p:cNvSpPr txBox="1"/>
          <p:nvPr/>
        </p:nvSpPr>
        <p:spPr>
          <a:xfrm>
            <a:off x="7174125" y="5843732"/>
            <a:ext cx="584302" cy="15783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6/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6" name="テキスト ボックス 35">
            <a:extLst>
              <a:ext uri="{FF2B5EF4-FFF2-40B4-BE49-F238E27FC236}">
                <a16:creationId xmlns:a16="http://schemas.microsoft.com/office/drawing/2014/main" id="{DF6ADFB0-EEC2-C0DF-C02A-46809441BAEA}"/>
              </a:ext>
            </a:extLst>
          </p:cNvPr>
          <p:cNvSpPr txBox="1"/>
          <p:nvPr/>
        </p:nvSpPr>
        <p:spPr>
          <a:xfrm>
            <a:off x="9549114" y="5850414"/>
            <a:ext cx="584301" cy="12527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10/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7" name="テキスト ボックス 36">
            <a:extLst>
              <a:ext uri="{FF2B5EF4-FFF2-40B4-BE49-F238E27FC236}">
                <a16:creationId xmlns:a16="http://schemas.microsoft.com/office/drawing/2014/main" id="{4AABB290-6FE3-0414-F530-6FBE6D132164}"/>
              </a:ext>
            </a:extLst>
          </p:cNvPr>
          <p:cNvSpPr txBox="1"/>
          <p:nvPr/>
        </p:nvSpPr>
        <p:spPr>
          <a:xfrm>
            <a:off x="11396013" y="5850414"/>
            <a:ext cx="584302"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8" name="四角形: 角を丸くする 37">
            <a:extLst>
              <a:ext uri="{FF2B5EF4-FFF2-40B4-BE49-F238E27FC236}">
                <a16:creationId xmlns:a16="http://schemas.microsoft.com/office/drawing/2014/main" id="{174E74FD-E3FA-1108-BF7D-52EF7B2666C1}"/>
              </a:ext>
            </a:extLst>
          </p:cNvPr>
          <p:cNvSpPr/>
          <p:nvPr/>
        </p:nvSpPr>
        <p:spPr bwMode="gray">
          <a:xfrm>
            <a:off x="1933003" y="3128393"/>
            <a:ext cx="2060448" cy="282449"/>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DB</a:t>
            </a: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設計</a:t>
            </a:r>
          </a:p>
        </p:txBody>
      </p:sp>
      <p:sp>
        <p:nvSpPr>
          <p:cNvPr id="43" name="四角形: 角を丸くする 42">
            <a:extLst>
              <a:ext uri="{FF2B5EF4-FFF2-40B4-BE49-F238E27FC236}">
                <a16:creationId xmlns:a16="http://schemas.microsoft.com/office/drawing/2014/main" id="{D521F013-820D-C57C-BFB9-27E05AD16713}"/>
              </a:ext>
            </a:extLst>
          </p:cNvPr>
          <p:cNvSpPr/>
          <p:nvPr/>
        </p:nvSpPr>
        <p:spPr bwMode="gray">
          <a:xfrm>
            <a:off x="1236849" y="2392863"/>
            <a:ext cx="152319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構造設計</a:t>
            </a:r>
          </a:p>
        </p:txBody>
      </p:sp>
      <p:cxnSp>
        <p:nvCxnSpPr>
          <p:cNvPr id="44" name="直線コネクタ 43">
            <a:extLst>
              <a:ext uri="{FF2B5EF4-FFF2-40B4-BE49-F238E27FC236}">
                <a16:creationId xmlns:a16="http://schemas.microsoft.com/office/drawing/2014/main" id="{30EFDE1D-07E8-C61E-BC3B-5714710E8F7A}"/>
              </a:ext>
            </a:extLst>
          </p:cNvPr>
          <p:cNvCxnSpPr>
            <a:cxnSpLocks/>
          </p:cNvCxnSpPr>
          <p:nvPr/>
        </p:nvCxnSpPr>
        <p:spPr>
          <a:xfrm>
            <a:off x="2028729"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B44AFE27-A04B-B1FC-53B4-85B5D558C077}"/>
              </a:ext>
            </a:extLst>
          </p:cNvPr>
          <p:cNvSpPr/>
          <p:nvPr/>
        </p:nvSpPr>
        <p:spPr bwMode="gray">
          <a:xfrm>
            <a:off x="367031" y="1167637"/>
            <a:ext cx="2391122"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dirty="0">
                <a:solidFill>
                  <a:srgbClr val="FF0000"/>
                </a:solidFill>
                <a:latin typeface="Arial"/>
                <a:ea typeface="Yu Gothic UI"/>
                <a:cs typeface="Arial" panose="020B0604020202020204" pitchFamily="34" charset="0"/>
              </a:rPr>
              <a:t>・</a:t>
            </a:r>
            <a:r>
              <a:rPr lang="en-US" altLang="ja-JP" sz="1200" b="1" kern="0" dirty="0">
                <a:solidFill>
                  <a:srgbClr val="FF0000"/>
                </a:solidFill>
                <a:latin typeface="Arial"/>
                <a:ea typeface="Yu Gothic UI"/>
                <a:cs typeface="Arial" panose="020B0604020202020204" pitchFamily="34" charset="0"/>
              </a:rPr>
              <a:t>POC</a:t>
            </a:r>
            <a:r>
              <a:rPr lang="ja-JP" altLang="en-US" sz="1200" b="1" kern="0" dirty="0">
                <a:solidFill>
                  <a:srgbClr val="FF0000"/>
                </a:solidFill>
                <a:latin typeface="Arial"/>
                <a:ea typeface="Yu Gothic UI"/>
                <a:cs typeface="Arial" panose="020B0604020202020204" pitchFamily="34" charset="0"/>
              </a:rPr>
              <a:t>、構造設計</a:t>
            </a:r>
            <a:r>
              <a:rPr kumimoji="0" lang="ja-JP" altLang="en-US" sz="1200" b="1"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rPr>
              <a:t>・製造工程の概算見積</a:t>
            </a:r>
            <a:r>
              <a:rPr lang="ja-JP" altLang="en-US" sz="1200" b="1" kern="0" dirty="0">
                <a:solidFill>
                  <a:srgbClr val="FF0000"/>
                </a:solidFill>
                <a:latin typeface="Arial"/>
                <a:ea typeface="Yu Gothic UI"/>
                <a:cs typeface="Arial" panose="020B0604020202020204" pitchFamily="34" charset="0"/>
              </a:rPr>
              <a:t>⇒社内稟議</a:t>
            </a:r>
            <a:endParaRPr kumimoji="0" lang="en-US" altLang="ja-JP" sz="1200" b="0"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endParaRPr>
          </a:p>
        </p:txBody>
      </p:sp>
      <p:cxnSp>
        <p:nvCxnSpPr>
          <p:cNvPr id="46" name="直線コネクタ 45">
            <a:extLst>
              <a:ext uri="{FF2B5EF4-FFF2-40B4-BE49-F238E27FC236}">
                <a16:creationId xmlns:a16="http://schemas.microsoft.com/office/drawing/2014/main" id="{B651CEE3-B5BE-6362-8B7A-A62B2B71C8D5}"/>
              </a:ext>
            </a:extLst>
          </p:cNvPr>
          <p:cNvCxnSpPr>
            <a:cxnSpLocks/>
          </p:cNvCxnSpPr>
          <p:nvPr/>
        </p:nvCxnSpPr>
        <p:spPr>
          <a:xfrm>
            <a:off x="3980498"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C0F98B3F-0A08-B70D-6FDD-5CFCD5782A97}"/>
              </a:ext>
            </a:extLst>
          </p:cNvPr>
          <p:cNvSpPr/>
          <p:nvPr/>
        </p:nvSpPr>
        <p:spPr bwMode="gray">
          <a:xfrm>
            <a:off x="3893224" y="1167637"/>
            <a:ext cx="145329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製造工程の正式見積</a:t>
            </a:r>
            <a:endPar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a:solidFill>
                  <a:prstClr val="black"/>
                </a:solidFill>
                <a:latin typeface="Arial"/>
                <a:ea typeface="Yu Gothic UI"/>
                <a:cs typeface="Arial" panose="020B0604020202020204" pitchFamily="34" charset="0"/>
              </a:rPr>
              <a:t>⇒ご</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発注</a:t>
            </a:r>
            <a:endPar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48" name="直線コネクタ 47">
            <a:extLst>
              <a:ext uri="{FF2B5EF4-FFF2-40B4-BE49-F238E27FC236}">
                <a16:creationId xmlns:a16="http://schemas.microsoft.com/office/drawing/2014/main" id="{34CDE9F9-DF4D-E328-4249-387D2BAF8AE2}"/>
              </a:ext>
            </a:extLst>
          </p:cNvPr>
          <p:cNvCxnSpPr>
            <a:cxnSpLocks/>
          </p:cNvCxnSpPr>
          <p:nvPr/>
        </p:nvCxnSpPr>
        <p:spPr>
          <a:xfrm>
            <a:off x="7086049"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13DC96F-04BE-10EA-9C42-2EB6895085A9}"/>
              </a:ext>
            </a:extLst>
          </p:cNvPr>
          <p:cNvSpPr/>
          <p:nvPr/>
        </p:nvSpPr>
        <p:spPr bwMode="gray">
          <a:xfrm>
            <a:off x="6407371" y="1167637"/>
            <a:ext cx="1496228"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検証</a:t>
            </a: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50" name="直線コネクタ 49">
            <a:extLst>
              <a:ext uri="{FF2B5EF4-FFF2-40B4-BE49-F238E27FC236}">
                <a16:creationId xmlns:a16="http://schemas.microsoft.com/office/drawing/2014/main" id="{19F59E26-489D-FE33-1E6B-FEF5FFEE7604}"/>
              </a:ext>
            </a:extLst>
          </p:cNvPr>
          <p:cNvCxnSpPr>
            <a:cxnSpLocks/>
          </p:cNvCxnSpPr>
          <p:nvPr/>
        </p:nvCxnSpPr>
        <p:spPr>
          <a:xfrm>
            <a:off x="11290006" y="1623226"/>
            <a:ext cx="26578"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DE56DBCE-35B5-5363-D554-A7AE280BD8BB}"/>
              </a:ext>
            </a:extLst>
          </p:cNvPr>
          <p:cNvSpPr/>
          <p:nvPr/>
        </p:nvSpPr>
        <p:spPr bwMode="gray">
          <a:xfrm>
            <a:off x="10840563" y="1167637"/>
            <a:ext cx="89924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lvl="0" algn="ctr" fontAlgn="base">
              <a:spcBef>
                <a:spcPct val="0"/>
              </a:spcBef>
              <a:spcAft>
                <a:spcPct val="0"/>
              </a:spcAft>
              <a:defRPr/>
            </a:pPr>
            <a:r>
              <a:rPr kumimoji="0" lang="en-US" altLang="ja-JP" sz="1200" b="1" kern="0">
                <a:solidFill>
                  <a:prstClr val="black"/>
                </a:solidFill>
                <a:latin typeface="Arial"/>
                <a:ea typeface="Yu Gothic UI"/>
                <a:cs typeface="Arial" panose="020B0604020202020204" pitchFamily="34" charset="0"/>
              </a:rPr>
              <a:t>Round3</a:t>
            </a:r>
          </a:p>
          <a:p>
            <a:pPr lvl="0" algn="ctr" fontAlgn="base">
              <a:spcBef>
                <a:spcPct val="0"/>
              </a:spcBef>
              <a:spcAft>
                <a:spcPct val="0"/>
              </a:spcAft>
              <a:defRPr/>
            </a:pPr>
            <a:r>
              <a:rPr kumimoji="0" lang="ja-JP" altLang="en-US" sz="1200" b="1" kern="0">
                <a:solidFill>
                  <a:prstClr val="black"/>
                </a:solidFill>
                <a:latin typeface="Arial"/>
                <a:ea typeface="Yu Gothic UI"/>
                <a:cs typeface="Arial" panose="020B0604020202020204" pitchFamily="34" charset="0"/>
              </a:rPr>
              <a:t>全体</a:t>
            </a:r>
            <a:r>
              <a:rPr kumimoji="0" lang="en-US" altLang="ja-JP" sz="1200" b="1" kern="0">
                <a:solidFill>
                  <a:prstClr val="black"/>
                </a:solidFill>
                <a:latin typeface="Arial"/>
                <a:ea typeface="Yu Gothic UI"/>
                <a:cs typeface="Arial" panose="020B0604020202020204" pitchFamily="34" charset="0"/>
              </a:rPr>
              <a:t>GA</a:t>
            </a:r>
            <a:endParaRPr kumimoji="0" lang="ja-JP" altLang="en-US" sz="1200" kern="0">
              <a:solidFill>
                <a:prstClr val="black"/>
              </a:solidFill>
              <a:latin typeface="Arial"/>
              <a:ea typeface="Yu Gothic UI"/>
              <a:cs typeface="Arial" panose="020B0604020202020204" pitchFamily="34" charset="0"/>
            </a:endParaRPr>
          </a:p>
        </p:txBody>
      </p:sp>
      <p:sp>
        <p:nvSpPr>
          <p:cNvPr id="55" name="四角形: 角を丸くする 54">
            <a:extLst>
              <a:ext uri="{FF2B5EF4-FFF2-40B4-BE49-F238E27FC236}">
                <a16:creationId xmlns:a16="http://schemas.microsoft.com/office/drawing/2014/main" id="{4B115AEA-6E76-3FFE-8146-C00089B179C2}"/>
              </a:ext>
            </a:extLst>
          </p:cNvPr>
          <p:cNvSpPr/>
          <p:nvPr/>
        </p:nvSpPr>
        <p:spPr bwMode="gray">
          <a:xfrm>
            <a:off x="5095154" y="2792973"/>
            <a:ext cx="198548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評価と改善</a:t>
            </a:r>
          </a:p>
        </p:txBody>
      </p:sp>
      <p:sp>
        <p:nvSpPr>
          <p:cNvPr id="56" name="四角形: 角を丸くする 55">
            <a:extLst>
              <a:ext uri="{FF2B5EF4-FFF2-40B4-BE49-F238E27FC236}">
                <a16:creationId xmlns:a16="http://schemas.microsoft.com/office/drawing/2014/main" id="{0B36B7ED-11D3-ABA2-07F3-E5C3B6903DB8}"/>
              </a:ext>
            </a:extLst>
          </p:cNvPr>
          <p:cNvSpPr/>
          <p:nvPr/>
        </p:nvSpPr>
        <p:spPr bwMode="gray">
          <a:xfrm>
            <a:off x="7120916" y="2785215"/>
            <a:ext cx="158853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試験</a:t>
            </a:r>
          </a:p>
        </p:txBody>
      </p:sp>
      <p:sp>
        <p:nvSpPr>
          <p:cNvPr id="57" name="四角形: 角を丸くする 56">
            <a:extLst>
              <a:ext uri="{FF2B5EF4-FFF2-40B4-BE49-F238E27FC236}">
                <a16:creationId xmlns:a16="http://schemas.microsoft.com/office/drawing/2014/main" id="{8DBF02CA-125F-9E35-2504-DF1A68DA6B2F}"/>
              </a:ext>
            </a:extLst>
          </p:cNvPr>
          <p:cNvSpPr/>
          <p:nvPr/>
        </p:nvSpPr>
        <p:spPr bwMode="gray">
          <a:xfrm>
            <a:off x="1236849" y="2792973"/>
            <a:ext cx="2756602"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Facility</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58" name="四角形: 角を丸くする 57">
            <a:extLst>
              <a:ext uri="{FF2B5EF4-FFF2-40B4-BE49-F238E27FC236}">
                <a16:creationId xmlns:a16="http://schemas.microsoft.com/office/drawing/2014/main" id="{81417237-7BCD-B6EA-422F-3FC08177AC37}"/>
              </a:ext>
            </a:extLst>
          </p:cNvPr>
          <p:cNvSpPr/>
          <p:nvPr/>
        </p:nvSpPr>
        <p:spPr bwMode="gray">
          <a:xfrm>
            <a:off x="7157755" y="3864809"/>
            <a:ext cx="1120894" cy="277890"/>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kern="0">
                <a:solidFill>
                  <a:prstClr val="black"/>
                </a:solidFill>
                <a:latin typeface="Arial"/>
                <a:ea typeface="Yu Gothic UI"/>
                <a:cs typeface="Arial" panose="020B0604020202020204" pitchFamily="34" charset="0"/>
              </a:rPr>
              <a:t>Round1 </a:t>
            </a:r>
            <a:r>
              <a:rPr kumimoji="0" lang="ja-JP" altLang="en-US" sz="1200" kern="0">
                <a:solidFill>
                  <a:prstClr val="black"/>
                </a:solidFill>
                <a:latin typeface="Arial"/>
                <a:ea typeface="Yu Gothic UI"/>
                <a:cs typeface="Arial" panose="020B0604020202020204" pitchFamily="34" charset="0"/>
              </a:rPr>
              <a:t>データ移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a:t>
            </a:r>
          </a:p>
        </p:txBody>
      </p:sp>
      <p:sp>
        <p:nvSpPr>
          <p:cNvPr id="63" name="四角形: 角を丸くする 62">
            <a:extLst>
              <a:ext uri="{FF2B5EF4-FFF2-40B4-BE49-F238E27FC236}">
                <a16:creationId xmlns:a16="http://schemas.microsoft.com/office/drawing/2014/main" id="{5AB9770A-D1EA-5FD6-9999-322CC1586E80}"/>
              </a:ext>
            </a:extLst>
          </p:cNvPr>
          <p:cNvSpPr/>
          <p:nvPr/>
        </p:nvSpPr>
        <p:spPr bwMode="gray">
          <a:xfrm>
            <a:off x="7157754" y="4540383"/>
            <a:ext cx="2275409"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２展開</a:t>
            </a:r>
          </a:p>
        </p:txBody>
      </p:sp>
      <p:sp>
        <p:nvSpPr>
          <p:cNvPr id="65" name="四角形: 角を丸くする 64">
            <a:extLst>
              <a:ext uri="{FF2B5EF4-FFF2-40B4-BE49-F238E27FC236}">
                <a16:creationId xmlns:a16="http://schemas.microsoft.com/office/drawing/2014/main" id="{4B94B9BA-AB77-F1CD-5430-C55DE238BE62}"/>
              </a:ext>
            </a:extLst>
          </p:cNvPr>
          <p:cNvSpPr/>
          <p:nvPr/>
        </p:nvSpPr>
        <p:spPr bwMode="gray">
          <a:xfrm>
            <a:off x="9511469" y="5150883"/>
            <a:ext cx="1778718"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3</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展開</a:t>
            </a:r>
          </a:p>
        </p:txBody>
      </p:sp>
      <p:cxnSp>
        <p:nvCxnSpPr>
          <p:cNvPr id="66" name="直線コネクタ 65">
            <a:extLst>
              <a:ext uri="{FF2B5EF4-FFF2-40B4-BE49-F238E27FC236}">
                <a16:creationId xmlns:a16="http://schemas.microsoft.com/office/drawing/2014/main" id="{2202BEC9-C5D1-C6E4-FE89-52BE677DAED8}"/>
              </a:ext>
            </a:extLst>
          </p:cNvPr>
          <p:cNvCxnSpPr>
            <a:cxnSpLocks/>
          </p:cNvCxnSpPr>
          <p:nvPr/>
        </p:nvCxnSpPr>
        <p:spPr>
          <a:xfrm>
            <a:off x="8716560"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259D0577-A5C0-FE48-C7EE-6684D79BA595}"/>
              </a:ext>
            </a:extLst>
          </p:cNvPr>
          <p:cNvSpPr/>
          <p:nvPr/>
        </p:nvSpPr>
        <p:spPr bwMode="gray">
          <a:xfrm>
            <a:off x="8374332"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GA</a:t>
            </a:r>
            <a:endPar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68" name="直線コネクタ 67">
            <a:extLst>
              <a:ext uri="{FF2B5EF4-FFF2-40B4-BE49-F238E27FC236}">
                <a16:creationId xmlns:a16="http://schemas.microsoft.com/office/drawing/2014/main" id="{4BE95EF1-0B54-0794-C240-31889AF2CBAC}"/>
              </a:ext>
            </a:extLst>
          </p:cNvPr>
          <p:cNvCxnSpPr>
            <a:cxnSpLocks/>
          </p:cNvCxnSpPr>
          <p:nvPr/>
        </p:nvCxnSpPr>
        <p:spPr>
          <a:xfrm>
            <a:off x="876529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034DDE8F-E097-CB07-176B-D5ED3C4A97A3}"/>
              </a:ext>
            </a:extLst>
          </p:cNvPr>
          <p:cNvCxnSpPr>
            <a:cxnSpLocks/>
          </p:cNvCxnSpPr>
          <p:nvPr/>
        </p:nvCxnSpPr>
        <p:spPr>
          <a:xfrm>
            <a:off x="9439043"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445069B9-4D77-023E-84D7-7DE311C7EBEB}"/>
              </a:ext>
            </a:extLst>
          </p:cNvPr>
          <p:cNvSpPr/>
          <p:nvPr/>
        </p:nvSpPr>
        <p:spPr bwMode="gray">
          <a:xfrm>
            <a:off x="9147854"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2GA</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74" name="直線コネクタ 73">
            <a:extLst>
              <a:ext uri="{FF2B5EF4-FFF2-40B4-BE49-F238E27FC236}">
                <a16:creationId xmlns:a16="http://schemas.microsoft.com/office/drawing/2014/main" id="{A82C34ED-59CD-FECD-8462-64046DF5BD91}"/>
              </a:ext>
            </a:extLst>
          </p:cNvPr>
          <p:cNvCxnSpPr>
            <a:cxnSpLocks/>
          </p:cNvCxnSpPr>
          <p:nvPr/>
        </p:nvCxnSpPr>
        <p:spPr>
          <a:xfrm>
            <a:off x="2030829"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0AABA1AE-3FCC-5B32-DB85-E4F452E1A67E}"/>
              </a:ext>
            </a:extLst>
          </p:cNvPr>
          <p:cNvSpPr txBox="1"/>
          <p:nvPr/>
        </p:nvSpPr>
        <p:spPr>
          <a:xfrm>
            <a:off x="2074511"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 name="四角形: 角を丸くする 2">
            <a:extLst>
              <a:ext uri="{FF2B5EF4-FFF2-40B4-BE49-F238E27FC236}">
                <a16:creationId xmlns:a16="http://schemas.microsoft.com/office/drawing/2014/main" id="{81BD2CC8-5AF4-CBDE-B7B8-3BA5DFF36E09}"/>
              </a:ext>
            </a:extLst>
          </p:cNvPr>
          <p:cNvSpPr/>
          <p:nvPr/>
        </p:nvSpPr>
        <p:spPr>
          <a:xfrm>
            <a:off x="4036547" y="2564512"/>
            <a:ext cx="4781677" cy="1938433"/>
          </a:xfrm>
          <a:prstGeom prst="roundRect">
            <a:avLst>
              <a:gd name="adj" fmla="val 5456"/>
            </a:avLst>
          </a:prstGeom>
          <a:noFill/>
          <a:ln w="12700">
            <a:solidFill>
              <a:srgbClr val="0070C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0156BDFD-E0EA-04DE-E6E8-55BA3E349755}"/>
              </a:ext>
            </a:extLst>
          </p:cNvPr>
          <p:cNvSpPr txBox="1"/>
          <p:nvPr/>
        </p:nvSpPr>
        <p:spPr>
          <a:xfrm>
            <a:off x="4033732" y="2587937"/>
            <a:ext cx="6766132" cy="276999"/>
          </a:xfrm>
          <a:prstGeom prst="rect">
            <a:avLst/>
          </a:prstGeom>
          <a:noFill/>
        </p:spPr>
        <p:txBody>
          <a:bodyPr wrap="square">
            <a:spAutoFit/>
          </a:bodyPr>
          <a:lstStyle/>
          <a:p>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 </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全体システム構築と先行運用</a:t>
            </a:r>
            <a:endParaRPr lang="ja-JP" altLang="en-US" sz="1200"/>
          </a:p>
        </p:txBody>
      </p:sp>
      <p:graphicFrame>
        <p:nvGraphicFramePr>
          <p:cNvPr id="9" name="表 8">
            <a:extLst>
              <a:ext uri="{FF2B5EF4-FFF2-40B4-BE49-F238E27FC236}">
                <a16:creationId xmlns:a16="http://schemas.microsoft.com/office/drawing/2014/main" id="{1B049202-C3C6-E6F7-1181-53CD19D188C8}"/>
              </a:ext>
            </a:extLst>
          </p:cNvPr>
          <p:cNvGraphicFramePr>
            <a:graphicFrameLocks noGrp="1"/>
          </p:cNvGraphicFramePr>
          <p:nvPr>
            <p:extLst>
              <p:ext uri="{D42A27DB-BD31-4B8C-83A1-F6EECF244321}">
                <p14:modId xmlns:p14="http://schemas.microsoft.com/office/powerpoint/2010/main" val="3636957835"/>
              </p:ext>
            </p:extLst>
          </p:nvPr>
        </p:nvGraphicFramePr>
        <p:xfrm>
          <a:off x="403231" y="3864809"/>
          <a:ext cx="2873349" cy="1916430"/>
        </p:xfrm>
        <a:graphic>
          <a:graphicData uri="http://schemas.openxmlformats.org/drawingml/2006/table">
            <a:tbl>
              <a:tblPr firstRow="1" bandRow="1">
                <a:tableStyleId>{5C22544A-7EE6-4342-B048-85BDC9FD1C3A}</a:tableStyleId>
              </a:tblPr>
              <a:tblGrid>
                <a:gridCol w="148988">
                  <a:extLst>
                    <a:ext uri="{9D8B030D-6E8A-4147-A177-3AD203B41FA5}">
                      <a16:colId xmlns:a16="http://schemas.microsoft.com/office/drawing/2014/main" val="1590383083"/>
                    </a:ext>
                  </a:extLst>
                </a:gridCol>
                <a:gridCol w="1039114">
                  <a:extLst>
                    <a:ext uri="{9D8B030D-6E8A-4147-A177-3AD203B41FA5}">
                      <a16:colId xmlns:a16="http://schemas.microsoft.com/office/drawing/2014/main" val="1710678529"/>
                    </a:ext>
                  </a:extLst>
                </a:gridCol>
                <a:gridCol w="1685247">
                  <a:extLst>
                    <a:ext uri="{9D8B030D-6E8A-4147-A177-3AD203B41FA5}">
                      <a16:colId xmlns:a16="http://schemas.microsoft.com/office/drawing/2014/main" val="2280072178"/>
                    </a:ext>
                  </a:extLst>
                </a:gridCol>
              </a:tblGrid>
              <a:tr h="0">
                <a:tc>
                  <a:txBody>
                    <a:bodyPr/>
                    <a:lstStyle/>
                    <a:p>
                      <a:r>
                        <a:rPr kumimoji="1" lang="en-US" altLang="ja-JP" sz="600" dirty="0"/>
                        <a:t>#</a:t>
                      </a:r>
                      <a:endParaRPr kumimoji="1" lang="ja-JP" altLang="en-US" sz="600" dirty="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代表</a:t>
                      </a:r>
                      <a:r>
                        <a:rPr kumimoji="1" lang="en-US" altLang="ja-JP" sz="600" dirty="0"/>
                        <a:t>DB</a:t>
                      </a:r>
                      <a:r>
                        <a:rPr kumimoji="1" lang="ja-JP" altLang="en-US" sz="600" dirty="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関連</a:t>
                      </a:r>
                      <a:r>
                        <a:rPr kumimoji="1" lang="en-US" altLang="ja-JP" sz="600" dirty="0"/>
                        <a:t>DB</a:t>
                      </a:r>
                      <a:r>
                        <a:rPr kumimoji="1" lang="ja-JP" altLang="en-US" sz="600" dirty="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58821017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3184910"/>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0767317"/>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3</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2294341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3943938"/>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5</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890753"/>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6</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18703620"/>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7</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0835244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8</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05427576"/>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9</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219389"/>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0</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244439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4">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600" b="0" kern="1200" noProof="0" dirty="0">
                          <a:solidFill>
                            <a:schemeClr val="tx1"/>
                          </a:solidFill>
                          <a:latin typeface="+mn-lt"/>
                          <a:ea typeface="+mn-ea"/>
                          <a:cs typeface="+mn-cs"/>
                        </a:rPr>
                        <a:t>納入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49284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アーカイブ</a:t>
                      </a: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06526466"/>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3</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379878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品質情報ﾏｽﾀ</a:t>
                      </a:r>
                      <a:r>
                        <a:rPr kumimoji="1" lang="en-US" altLang="zh-TW" sz="600" b="0" kern="1200" dirty="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0244223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貿易管理・納入仕様書ＤＢ</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4454657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納入仕様書システム</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98560373"/>
                  </a:ext>
                </a:extLst>
              </a:tr>
            </a:tbl>
          </a:graphicData>
        </a:graphic>
      </p:graphicFrame>
      <p:sp>
        <p:nvSpPr>
          <p:cNvPr id="16" name="テキスト ボックス 15">
            <a:extLst>
              <a:ext uri="{FF2B5EF4-FFF2-40B4-BE49-F238E27FC236}">
                <a16:creationId xmlns:a16="http://schemas.microsoft.com/office/drawing/2014/main" id="{3B2AFFD5-2193-A6D2-7ED0-36818492A140}"/>
              </a:ext>
            </a:extLst>
          </p:cNvPr>
          <p:cNvSpPr txBox="1"/>
          <p:nvPr/>
        </p:nvSpPr>
        <p:spPr>
          <a:xfrm>
            <a:off x="311630" y="3622150"/>
            <a:ext cx="6766560" cy="215444"/>
          </a:xfrm>
          <a:prstGeom prst="rect">
            <a:avLst/>
          </a:prstGeom>
          <a:noFill/>
        </p:spPr>
        <p:txBody>
          <a:bodyPr wrap="square">
            <a:spAutoFit/>
          </a:bodyPr>
          <a:lstStyle/>
          <a:p>
            <a:r>
              <a:rPr lang="en-US" altLang="ja-JP" sz="800" b="1" dirty="0"/>
              <a:t>Round1</a:t>
            </a:r>
            <a:r>
              <a:rPr lang="ja-JP" altLang="en-US" sz="800" b="1" dirty="0"/>
              <a:t>対象機能想定</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graphicFrame>
        <p:nvGraphicFramePr>
          <p:cNvPr id="8" name="表 7">
            <a:extLst>
              <a:ext uri="{FF2B5EF4-FFF2-40B4-BE49-F238E27FC236}">
                <a16:creationId xmlns:a16="http://schemas.microsoft.com/office/drawing/2014/main" id="{EA5FED8C-15C3-BBF2-E85B-99DBE2ED9970}"/>
              </a:ext>
            </a:extLst>
          </p:cNvPr>
          <p:cNvGraphicFramePr>
            <a:graphicFrameLocks noGrp="1"/>
          </p:cNvGraphicFramePr>
          <p:nvPr>
            <p:extLst>
              <p:ext uri="{D42A27DB-BD31-4B8C-83A1-F6EECF244321}">
                <p14:modId xmlns:p14="http://schemas.microsoft.com/office/powerpoint/2010/main" val="3830798843"/>
              </p:ext>
            </p:extLst>
          </p:nvPr>
        </p:nvGraphicFramePr>
        <p:xfrm>
          <a:off x="474472" y="836570"/>
          <a:ext cx="11126253" cy="5184860"/>
        </p:xfrm>
        <a:graphic>
          <a:graphicData uri="http://schemas.openxmlformats.org/drawingml/2006/table">
            <a:tbl>
              <a:tblPr firstRow="1" bandRow="1">
                <a:tableStyleId>{7DF18680-E054-41AD-8BC1-D1AEF772440D}</a:tableStyleId>
              </a:tblPr>
              <a:tblGrid>
                <a:gridCol w="1969315">
                  <a:extLst>
                    <a:ext uri="{9D8B030D-6E8A-4147-A177-3AD203B41FA5}">
                      <a16:colId xmlns:a16="http://schemas.microsoft.com/office/drawing/2014/main" val="1822749168"/>
                    </a:ext>
                  </a:extLst>
                </a:gridCol>
                <a:gridCol w="1053894">
                  <a:extLst>
                    <a:ext uri="{9D8B030D-6E8A-4147-A177-3AD203B41FA5}">
                      <a16:colId xmlns:a16="http://schemas.microsoft.com/office/drawing/2014/main" val="1141317570"/>
                    </a:ext>
                  </a:extLst>
                </a:gridCol>
                <a:gridCol w="8103044">
                  <a:extLst>
                    <a:ext uri="{9D8B030D-6E8A-4147-A177-3AD203B41FA5}">
                      <a16:colId xmlns:a16="http://schemas.microsoft.com/office/drawing/2014/main" val="371397195"/>
                    </a:ext>
                  </a:extLst>
                </a:gridCol>
              </a:tblGrid>
              <a:tr h="191709">
                <a:tc>
                  <a:txBody>
                    <a:bodyPr/>
                    <a:lstStyle/>
                    <a:p>
                      <a:pPr marL="0" algn="l" defTabSz="914400" rtl="0" eaLnBrk="1" fontAlgn="b" latinLnBrk="0" hangingPunct="1"/>
                      <a:r>
                        <a:rPr lang="ja-JP" altLang="en-US" sz="1100" b="0" u="none" strike="noStrike" kern="1200">
                          <a:solidFill>
                            <a:schemeClr val="tx1"/>
                          </a:solidFill>
                          <a:effectLst/>
                        </a:rPr>
                        <a:t>工程</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rPr>
                        <a:t>工数（</a:t>
                      </a:r>
                      <a:r>
                        <a:rPr lang="de-DE" sz="1100" b="0" u="none" strike="noStrike" kern="1200">
                          <a:solidFill>
                            <a:schemeClr val="tx1"/>
                          </a:solidFill>
                          <a:effectLst/>
                        </a:rPr>
                        <a:t>MM）</a:t>
                      </a:r>
                      <a:endParaRPr lang="de-DE"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説明</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1097971">
                <a:tc>
                  <a:txBody>
                    <a:bodyPr/>
                    <a:lstStyle/>
                    <a:p>
                      <a:pPr marL="0" algn="l" defTabSz="914400" rtl="0" eaLnBrk="1" fontAlgn="b" latinLnBrk="0" hangingPunct="1"/>
                      <a:r>
                        <a:rPr lang="ja-JP" altLang="en-US" sz="1050" b="0" u="none" strike="noStrike" kern="1200">
                          <a:solidFill>
                            <a:schemeClr val="tx1"/>
                          </a:solidFill>
                          <a:effectLst/>
                        </a:rPr>
                        <a:t>要件</a:t>
                      </a:r>
                      <a:r>
                        <a:rPr lang="ja-JP" altLang="en-US" sz="1050" b="0" u="none" strike="noStrike" kern="1200">
                          <a:solidFill>
                            <a:schemeClr val="tx1"/>
                          </a:solidFill>
                          <a:effectLst/>
                          <a:latin typeface="+mn-lt"/>
                          <a:ea typeface="+mn-ea"/>
                          <a:cs typeface="+mn-cs"/>
                        </a:rPr>
                        <a:t>定義理解、仕様確認</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製品仕様書管理：</a:t>
                      </a:r>
                      <a:r>
                        <a:rPr lang="en-US" altLang="ja-JP" sz="1050" b="0" u="none" strike="noStrike" kern="1200">
                          <a:solidFill>
                            <a:schemeClr val="tx1"/>
                          </a:solidFill>
                          <a:effectLst/>
                        </a:rPr>
                        <a:t>4.2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三つ</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2.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4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2.20MM</a:t>
                      </a:r>
                      <a:br>
                        <a:rPr lang="en-US" altLang="ja-JP" sz="105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納入仕様書管理：</a:t>
                      </a:r>
                      <a:r>
                        <a:rPr lang="en-US" altLang="ja-JP" sz="1050" b="0" u="none" strike="noStrike" kern="1200">
                          <a:solidFill>
                            <a:schemeClr val="tx1"/>
                          </a:solidFill>
                          <a:effectLst/>
                        </a:rPr>
                        <a:t>2.1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1.10MM</a:t>
                      </a:r>
                      <a:br>
                        <a:rPr lang="en-US" altLang="ja-JP" sz="90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その他個別</a:t>
                      </a:r>
                      <a:r>
                        <a:rPr lang="en-US" altLang="ja-JP" sz="1050" b="0" u="none" strike="noStrike" kern="1200">
                          <a:solidFill>
                            <a:schemeClr val="tx1"/>
                          </a:solidFill>
                          <a:effectLst/>
                        </a:rPr>
                        <a:t>DB</a:t>
                      </a:r>
                      <a:r>
                        <a:rPr lang="ja-JP" altLang="en-US" sz="1050" b="0" u="none" strike="noStrike" kern="1200">
                          <a:solidFill>
                            <a:schemeClr val="tx1"/>
                          </a:solidFill>
                          <a:effectLst/>
                        </a:rPr>
                        <a:t>：</a:t>
                      </a:r>
                      <a:r>
                        <a:rPr lang="en-US" altLang="ja-JP" sz="1050" b="0" u="none" strike="noStrike" kern="1200">
                          <a:solidFill>
                            <a:schemeClr val="tx1"/>
                          </a:solidFill>
                          <a:effectLst/>
                        </a:rPr>
                        <a:t>1.7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7</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0.70MM</a:t>
                      </a:r>
                      <a:endParaRPr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365990">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構造設計</a:t>
                      </a:r>
                      <a:r>
                        <a:rPr lang="en-US" altLang="ja-JP" sz="1050" b="0" u="none" strike="noStrike" kern="1200">
                          <a:solidFill>
                            <a:schemeClr val="tx1"/>
                          </a:solidFill>
                          <a:effectLst/>
                          <a:latin typeface="+mn-lt"/>
                          <a:ea typeface="+mn-ea"/>
                          <a:cs typeface="+mn-cs"/>
                        </a:rPr>
                        <a:t>POC</a:t>
                      </a:r>
                      <a:endParaRPr lang="ja-JP" altLang="en-US"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a:t>
                      </a:r>
                    </a:p>
                  </a:txBody>
                  <a:tcPr marL="0" marR="0" marT="0" marB="0" anchor="ctr"/>
                </a:tc>
                <a:tc>
                  <a:txBody>
                    <a:bodyPr/>
                    <a:lstStyle/>
                    <a:p>
                      <a:pPr marL="228600" indent="-228600" algn="l" defTabSz="914400" rtl="0" eaLnBrk="1" fontAlgn="b" latinLnBrk="0" hangingPunct="1">
                        <a:buFont typeface="+mj-lt"/>
                        <a:buAutoNum type="arabicPeriod"/>
                      </a:pPr>
                      <a:r>
                        <a:rPr lang="en-US" altLang="ja-JP" sz="1050" b="0" u="none" strike="noStrike" kern="1200" dirty="0">
                          <a:solidFill>
                            <a:schemeClr val="tx1"/>
                          </a:solidFill>
                          <a:effectLst/>
                          <a:latin typeface="+mn-lt"/>
                          <a:ea typeface="+mn-ea"/>
                          <a:cs typeface="+mn-cs"/>
                        </a:rPr>
                        <a:t>Automation Flow</a:t>
                      </a:r>
                      <a:r>
                        <a:rPr lang="ja-JP" altLang="en-US" sz="1050" b="0" u="none" strike="noStrike" kern="1200" dirty="0">
                          <a:solidFill>
                            <a:schemeClr val="tx1"/>
                          </a:solidFill>
                          <a:effectLst/>
                          <a:latin typeface="+mn-lt"/>
                          <a:ea typeface="+mn-ea"/>
                          <a:cs typeface="+mn-cs"/>
                        </a:rPr>
                        <a:t>で複数ファイルまとめて</a:t>
                      </a:r>
                      <a:r>
                        <a:rPr lang="en-US" altLang="ja-JP" sz="1050" b="0" u="none" strike="noStrike" kern="1200" dirty="0">
                          <a:solidFill>
                            <a:schemeClr val="tx1"/>
                          </a:solidFill>
                          <a:effectLst/>
                          <a:latin typeface="+mn-lt"/>
                          <a:ea typeface="+mn-ea"/>
                          <a:cs typeface="+mn-cs"/>
                        </a:rPr>
                        <a:t>Download</a:t>
                      </a:r>
                      <a:r>
                        <a:rPr lang="ja-JP" altLang="en-US" sz="1050" b="0" u="none" strike="noStrike" kern="1200" dirty="0">
                          <a:solidFill>
                            <a:schemeClr val="tx1"/>
                          </a:solidFill>
                          <a:effectLst/>
                          <a:latin typeface="+mn-lt"/>
                          <a:ea typeface="+mn-ea"/>
                          <a:cs typeface="+mn-cs"/>
                        </a:rPr>
                        <a:t>とユーザにより個別ファイル</a:t>
                      </a:r>
                      <a:r>
                        <a:rPr lang="en-US" altLang="ja-JP" sz="1050" b="0" u="none" strike="noStrike" kern="1200" dirty="0">
                          <a:solidFill>
                            <a:schemeClr val="tx1"/>
                          </a:solidFill>
                          <a:effectLst/>
                          <a:latin typeface="+mn-lt"/>
                          <a:ea typeface="+mn-ea"/>
                          <a:cs typeface="+mn-cs"/>
                        </a:rPr>
                        <a:t>Upload/Download</a:t>
                      </a:r>
                      <a:r>
                        <a:rPr lang="ja-JP" altLang="en-US" sz="1050" b="0" u="none" strike="noStrike" kern="1200" dirty="0">
                          <a:solidFill>
                            <a:schemeClr val="tx1"/>
                          </a:solidFill>
                          <a:effectLst/>
                          <a:latin typeface="+mn-lt"/>
                          <a:ea typeface="+mn-ea"/>
                          <a:cs typeface="+mn-cs"/>
                        </a:rPr>
                        <a:t>のコスト差異がなし</a:t>
                      </a:r>
                      <a:endParaRPr lang="en-US" altLang="ja-JP" sz="1050" b="0" u="none" strike="noStrike" kern="1200" dirty="0">
                        <a:solidFill>
                          <a:schemeClr val="tx1"/>
                        </a:solidFill>
                        <a:effectLst/>
                        <a:latin typeface="+mn-lt"/>
                        <a:ea typeface="+mn-ea"/>
                        <a:cs typeface="+mn-cs"/>
                      </a:endParaRPr>
                    </a:p>
                    <a:p>
                      <a:pPr marL="228600" indent="-228600" algn="l" defTabSz="914400" rtl="0" eaLnBrk="1" fontAlgn="b" latinLnBrk="0" hangingPunct="1">
                        <a:buFont typeface="+mj-lt"/>
                        <a:buAutoNum type="arabicPeriod"/>
                      </a:pPr>
                      <a:r>
                        <a:rPr lang="en-US" altLang="ja-JP" sz="1050" b="0" u="none" strike="noStrike" kern="1200" dirty="0">
                          <a:solidFill>
                            <a:schemeClr val="tx1"/>
                          </a:solidFill>
                          <a:effectLst/>
                          <a:latin typeface="+mn-lt"/>
                          <a:ea typeface="+mn-ea"/>
                          <a:cs typeface="+mn-cs"/>
                        </a:rPr>
                        <a:t>5000User</a:t>
                      </a:r>
                      <a:r>
                        <a:rPr lang="ja-JP" altLang="en-US" sz="1050" b="0" u="none" strike="noStrike" kern="1200" dirty="0">
                          <a:solidFill>
                            <a:schemeClr val="tx1"/>
                          </a:solidFill>
                          <a:effectLst/>
                          <a:latin typeface="+mn-lt"/>
                          <a:ea typeface="+mn-ea"/>
                          <a:cs typeface="+mn-cs"/>
                        </a:rPr>
                        <a:t>と</a:t>
                      </a:r>
                      <a:r>
                        <a:rPr lang="en-US" altLang="ja-JP" sz="1050" b="0" u="none" strike="noStrike" kern="1200" dirty="0">
                          <a:solidFill>
                            <a:schemeClr val="tx1"/>
                          </a:solidFill>
                          <a:effectLst/>
                          <a:latin typeface="+mn-lt"/>
                          <a:ea typeface="+mn-ea"/>
                          <a:cs typeface="+mn-cs"/>
                        </a:rPr>
                        <a:t>10000User</a:t>
                      </a:r>
                      <a:r>
                        <a:rPr lang="ja-JP" altLang="en-US" sz="1050" b="0" u="none" strike="noStrike" kern="1200" dirty="0">
                          <a:solidFill>
                            <a:schemeClr val="tx1"/>
                          </a:solidFill>
                          <a:effectLst/>
                          <a:latin typeface="+mn-lt"/>
                          <a:ea typeface="+mn-ea"/>
                          <a:cs typeface="+mn-cs"/>
                        </a:rPr>
                        <a:t>の影響は誤差範囲（</a:t>
                      </a:r>
                      <a:r>
                        <a:rPr lang="en-US" altLang="ja-JP" sz="1050" b="0" u="none" strike="noStrike" kern="1200" dirty="0">
                          <a:solidFill>
                            <a:schemeClr val="tx1"/>
                          </a:solidFill>
                          <a:effectLst/>
                          <a:latin typeface="+mn-lt"/>
                          <a:ea typeface="+mn-ea"/>
                          <a:cs typeface="+mn-cs"/>
                        </a:rPr>
                        <a:t>Sizing</a:t>
                      </a:r>
                      <a:r>
                        <a:rPr lang="ja-JP" altLang="en-US" sz="1050" b="0" u="none" strike="noStrike" kern="1200" dirty="0">
                          <a:solidFill>
                            <a:schemeClr val="tx1"/>
                          </a:solidFill>
                          <a:effectLst/>
                          <a:latin typeface="+mn-lt"/>
                          <a:ea typeface="+mn-ea"/>
                          <a:cs typeface="+mn-cs"/>
                        </a:rPr>
                        <a:t>と性能試験に影響するのみ、性能測定に</a:t>
                      </a:r>
                      <a:r>
                        <a:rPr lang="en-US" altLang="ja-JP" sz="1050" b="0" u="none" strike="noStrike" kern="1200" dirty="0">
                          <a:solidFill>
                            <a:schemeClr val="tx1"/>
                          </a:solidFill>
                          <a:effectLst/>
                          <a:latin typeface="+mn-lt"/>
                          <a:ea typeface="+mn-ea"/>
                          <a:cs typeface="+mn-cs"/>
                        </a:rPr>
                        <a:t>10</a:t>
                      </a:r>
                      <a:r>
                        <a:rPr lang="ja-JP" altLang="en-US" sz="1050" b="0" u="none" strike="noStrike" kern="1200" dirty="0">
                          <a:solidFill>
                            <a:schemeClr val="tx1"/>
                          </a:solidFill>
                          <a:effectLst/>
                          <a:latin typeface="+mn-lt"/>
                          <a:ea typeface="+mn-ea"/>
                          <a:cs typeface="+mn-cs"/>
                        </a:rPr>
                        <a:t>年間データを考えると、略）</a:t>
                      </a:r>
                      <a:endParaRPr lang="en-US" altLang="ja-JP"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849158256"/>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2.82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開発単体①部分の設計、工数は開発単体工数</a:t>
                      </a:r>
                      <a:r>
                        <a:rPr lang="en-US" altLang="ja-JP" sz="1050" b="0" u="none" strike="noStrike" kern="1200" dirty="0">
                          <a:solidFill>
                            <a:schemeClr val="tx1"/>
                          </a:solidFill>
                          <a:effectLst/>
                        </a:rPr>
                        <a:t>×0.3</a:t>
                      </a:r>
                      <a:r>
                        <a:rPr lang="ja-JP" altLang="en-US" sz="1050" b="0" u="none" strike="noStrike" kern="1200" dirty="0">
                          <a:solidFill>
                            <a:schemeClr val="tx1"/>
                          </a:solidFill>
                          <a:effectLst/>
                        </a:rPr>
                        <a:t>とする</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4961108"/>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開発単体②部分の設計、</a:t>
                      </a:r>
                      <a:r>
                        <a:rPr lang="en-US" altLang="ja-JP" sz="1050" b="0" u="none" strike="noStrike" kern="1200" dirty="0">
                          <a:solidFill>
                            <a:schemeClr val="tx1"/>
                          </a:solidFill>
                          <a:effectLst/>
                        </a:rPr>
                        <a:t>1</a:t>
                      </a:r>
                      <a:r>
                        <a:rPr lang="ja-JP" altLang="en-US" sz="1050" b="0" u="none" strike="noStrike" kern="1200" dirty="0">
                          <a:solidFill>
                            <a:schemeClr val="tx1"/>
                          </a:solidFill>
                          <a:effectLst/>
                        </a:rPr>
                        <a:t>機能１</a:t>
                      </a:r>
                      <a:r>
                        <a:rPr lang="en-US" altLang="ja-JP" sz="1050" b="0" u="none" strike="noStrike" kern="1200" dirty="0">
                          <a:solidFill>
                            <a:schemeClr val="tx1"/>
                          </a:solidFill>
                          <a:effectLst/>
                        </a:rPr>
                        <a:t>MM</a:t>
                      </a:r>
                      <a:r>
                        <a:rPr lang="ja-JP" altLang="en-US" sz="1050" b="0" u="none" strike="noStrike" kern="1200" dirty="0">
                          <a:solidFill>
                            <a:schemeClr val="tx1"/>
                          </a:solidFill>
                          <a:effectLst/>
                        </a:rPr>
                        <a:t>と概算する</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66353059"/>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42.74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機能一覧の</a:t>
                      </a:r>
                      <a:r>
                        <a:rPr lang="en-US" altLang="ja-JP" sz="1050" b="0" u="none" strike="noStrike" kern="1200" dirty="0">
                          <a:solidFill>
                            <a:schemeClr val="tx1"/>
                          </a:solidFill>
                          <a:effectLst/>
                        </a:rPr>
                        <a:t>i12,i13</a:t>
                      </a:r>
                      <a:r>
                        <a:rPr lang="ja-JP" altLang="en-US" sz="1050" b="0" u="none" strike="noStrike" kern="1200" dirty="0">
                          <a:solidFill>
                            <a:schemeClr val="tx1"/>
                          </a:solidFill>
                          <a:effectLst/>
                        </a:rPr>
                        <a:t>以外、システム設計</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15517710"/>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5.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機能一覧の</a:t>
                      </a:r>
                      <a:r>
                        <a:rPr lang="de-DE" sz="1050" b="0" u="none" strike="noStrike" kern="1200">
                          <a:solidFill>
                            <a:schemeClr val="tx1"/>
                          </a:solidFill>
                          <a:effectLst/>
                        </a:rPr>
                        <a:t>i12,i13</a:t>
                      </a:r>
                      <a:r>
                        <a:rPr lang="ja-JP" altLang="en-US" sz="1050" b="0" u="none" strike="noStrike" kern="1200">
                          <a:solidFill>
                            <a:schemeClr val="tx1"/>
                          </a:solidFill>
                          <a:effectLst/>
                        </a:rPr>
                        <a:t>分</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22087986"/>
                  </a:ext>
                </a:extLst>
              </a:tr>
              <a:tr h="182995">
                <a:tc>
                  <a:txBody>
                    <a:bodyPr/>
                    <a:lstStyle/>
                    <a:p>
                      <a:pPr marL="0" algn="l" defTabSz="914400" rtl="0" eaLnBrk="1" fontAlgn="b" latinLnBrk="0" hangingPunct="1"/>
                      <a:r>
                        <a:rPr lang="ja-JP" altLang="en-US" sz="1050" b="0" u="none" strike="noStrike" kern="1200">
                          <a:solidFill>
                            <a:schemeClr val="tx1"/>
                          </a:solidFill>
                          <a:effectLst/>
                        </a:rPr>
                        <a:t>結合テスト</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8.55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①部分の結合テスト、工数は開発単体工数</a:t>
                      </a:r>
                      <a:r>
                        <a:rPr lang="en-US" altLang="ja-JP" sz="1050" b="0" u="none" strike="noStrike" kern="1200">
                          <a:solidFill>
                            <a:schemeClr val="tx1"/>
                          </a:solidFill>
                          <a:effectLst/>
                        </a:rPr>
                        <a:t>×0.2</a:t>
                      </a:r>
                      <a:r>
                        <a:rPr lang="ja-JP" altLang="en-US" sz="1050" b="0" u="none" strike="noStrike" kern="1200">
                          <a:solidFill>
                            <a:schemeClr val="tx1"/>
                          </a:solidFill>
                          <a:effectLst/>
                        </a:rPr>
                        <a:t>と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39015387"/>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仕様などリスク</a:t>
                      </a:r>
                      <a:r>
                        <a:rPr lang="en-US" altLang="ja-JP" sz="1050" b="0" u="none" strike="noStrike" kern="1200">
                          <a:solidFill>
                            <a:schemeClr val="tx1"/>
                          </a:solidFill>
                          <a:effectLst/>
                          <a:latin typeface="+mn-lt"/>
                          <a:ea typeface="+mn-ea"/>
                          <a:cs typeface="+mn-cs"/>
                        </a:rPr>
                        <a:t>Bufffer</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0</a:t>
                      </a:r>
                    </a:p>
                  </a:txBody>
                  <a:tcPr marL="0" marR="0" marT="0" marB="0" anchor="ctr"/>
                </a:tc>
                <a:tc>
                  <a:txBody>
                    <a:bodyPr/>
                    <a:lstStyle/>
                    <a:p>
                      <a:pPr marL="0" algn="l" defTabSz="914400" rtl="0" eaLnBrk="1" fontAlgn="b" latinLnBrk="0" hangingPunct="1"/>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開発工数の</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20%</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程度　（添付ファイルは</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へ保存する場合、</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8</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人月程度含む）</a:t>
                      </a:r>
                    </a:p>
                  </a:txBody>
                  <a:tcPr marL="0" marR="0" marT="0" marB="0" anchor="ctr"/>
                </a:tc>
                <a:extLst>
                  <a:ext uri="{0D108BD9-81ED-4DB2-BD59-A6C34878D82A}">
                    <a16:rowId xmlns:a16="http://schemas.microsoft.com/office/drawing/2014/main" val="1502352858"/>
                  </a:ext>
                </a:extLst>
              </a:tr>
              <a:tr h="1882235">
                <a:tc>
                  <a:txBody>
                    <a:bodyPr/>
                    <a:lstStyle/>
                    <a:p>
                      <a:pPr marL="0" algn="l" defTabSz="914400" rtl="0" eaLnBrk="1" fontAlgn="b" latinLnBrk="0" hangingPunct="1"/>
                      <a:r>
                        <a:rPr lang="ja-JP" altLang="en-US" sz="1050" b="0" u="none" strike="noStrike" kern="1200" dirty="0">
                          <a:solidFill>
                            <a:schemeClr val="tx1"/>
                          </a:solidFill>
                          <a:effectLst/>
                        </a:rPr>
                        <a:t>移行</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5.95</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移行開発</a:t>
                      </a:r>
                      <a:br>
                        <a:rPr lang="ja-JP" altLang="en-US"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①製品仕様書管理：</a:t>
                      </a:r>
                      <a:r>
                        <a:rPr lang="en-US" altLang="ja-JP" sz="900" b="0" u="none" strike="noStrike" kern="1200" dirty="0">
                          <a:solidFill>
                            <a:schemeClr val="tx1"/>
                          </a:solidFill>
                          <a:effectLst/>
                        </a:rPr>
                        <a:t>10.50MM</a:t>
                      </a:r>
                      <a:br>
                        <a:rPr lang="en-US" altLang="ja-JP" sz="900" b="0" u="none" strike="noStrike" kern="1200" dirty="0">
                          <a:solidFill>
                            <a:schemeClr val="tx1"/>
                          </a:solidFill>
                          <a:effectLst/>
                        </a:rPr>
                      </a:br>
                      <a:r>
                        <a:rPr lang="en-US" altLang="ja-JP" sz="900" b="0" u="none" strike="noStrike" kern="1200" dirty="0">
                          <a:solidFill>
                            <a:schemeClr val="tx1"/>
                          </a:solidFill>
                          <a:effectLst/>
                        </a:rPr>
                        <a:t>  </a:t>
                      </a: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三つ</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5.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10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5.50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②納入仕様書管理：</a:t>
                      </a:r>
                      <a:r>
                        <a:rPr lang="en-US" altLang="ja-JP" sz="900" b="0" u="none" strike="noStrike" kern="1200" dirty="0">
                          <a:solidFill>
                            <a:schemeClr val="tx1"/>
                          </a:solidFill>
                          <a:effectLst/>
                        </a:rPr>
                        <a:t>4.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5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2.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③その他個別</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a:t>
                      </a:r>
                      <a:r>
                        <a:rPr lang="en-US" altLang="ja-JP" sz="900" b="0" u="none" strike="noStrike" kern="1200" dirty="0">
                          <a:solidFill>
                            <a:schemeClr val="tx1"/>
                          </a:solidFill>
                          <a:effectLst/>
                        </a:rPr>
                        <a:t>2.3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7</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5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0.35MM</a:t>
                      </a:r>
                      <a:br>
                        <a:rPr lang="en-US" altLang="ja-JP" sz="1050" b="0" u="none" strike="noStrike" kern="1200" dirty="0">
                          <a:solidFill>
                            <a:schemeClr val="tx1"/>
                          </a:solidFill>
                          <a:effectLst/>
                        </a:rPr>
                      </a:br>
                      <a:r>
                        <a:rPr lang="en-US" altLang="ja-JP" sz="1050" b="0" u="none" strike="noStrike" kern="1200" dirty="0">
                          <a:solidFill>
                            <a:schemeClr val="tx1"/>
                          </a:solidFill>
                          <a:effectLst/>
                        </a:rPr>
                        <a:t>■</a:t>
                      </a:r>
                      <a:r>
                        <a:rPr lang="ja-JP" altLang="en-US" sz="1050" b="0" u="none" strike="noStrike" kern="1200" dirty="0">
                          <a:solidFill>
                            <a:schemeClr val="tx1"/>
                          </a:solidFill>
                          <a:effectLst/>
                        </a:rPr>
                        <a:t>移行手順書作成：</a:t>
                      </a:r>
                      <a:r>
                        <a:rPr lang="en-US" altLang="ja-JP" sz="1050" b="0" u="none" strike="noStrike" kern="1200" dirty="0">
                          <a:solidFill>
                            <a:schemeClr val="tx1"/>
                          </a:solidFill>
                          <a:effectLst/>
                        </a:rPr>
                        <a:t>1.0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20MD</a:t>
                      </a:r>
                      <a:r>
                        <a:rPr lang="ja-JP" altLang="en-US" sz="900" b="0" u="none" strike="noStrike" kern="1200" dirty="0">
                          <a:solidFill>
                            <a:schemeClr val="tx1"/>
                          </a:solidFill>
                          <a:effectLst/>
                        </a:rPr>
                        <a:t>の作業想定（メ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で、残りの</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はコピー展開）</a:t>
                      </a:r>
                      <a:br>
                        <a:rPr lang="ja-JP" altLang="en-US" sz="900" b="0" u="none" strike="noStrike" kern="1200" dirty="0">
                          <a:solidFill>
                            <a:schemeClr val="tx1"/>
                          </a:solidFill>
                          <a:effectLst/>
                        </a:rPr>
                      </a:br>
                      <a:r>
                        <a:rPr lang="ja-JP" altLang="en-US" sz="1050" b="0" u="none" strike="noStrike" kern="1200" dirty="0">
                          <a:solidFill>
                            <a:schemeClr val="tx1"/>
                          </a:solidFill>
                          <a:effectLst/>
                        </a:rPr>
                        <a:t>■移行リハーサル：</a:t>
                      </a:r>
                      <a:r>
                        <a:rPr lang="en-US" altLang="ja-JP" sz="1050" b="0" u="none" strike="noStrike" kern="1200" dirty="0">
                          <a:solidFill>
                            <a:schemeClr val="tx1"/>
                          </a:solidFill>
                          <a:effectLst/>
                        </a:rPr>
                        <a:t>7.6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マ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en-US" altLang="ja-JP" sz="900" b="0" u="none" strike="noStrike" kern="1200" dirty="0">
                          <a:solidFill>
                            <a:schemeClr val="tx1"/>
                          </a:solidFill>
                          <a:effectLst/>
                          <a:latin typeface="+mn-lt"/>
                          <a:ea typeface="+mn-ea"/>
                          <a:cs typeface="+mn-cs"/>
                        </a:rPr>
                        <a:t>3</a:t>
                      </a:r>
                      <a:r>
                        <a:rPr lang="ja-JP" altLang="en-US" sz="900" b="0" u="none" strike="noStrike" kern="1200" dirty="0">
                          <a:solidFill>
                            <a:schemeClr val="tx1"/>
                          </a:solidFill>
                          <a:effectLst/>
                          <a:latin typeface="+mn-lt"/>
                          <a:ea typeface="+mn-ea"/>
                          <a:cs typeface="+mn-cs"/>
                        </a:rPr>
                        <a:t>回実施で</a:t>
                      </a:r>
                      <a:r>
                        <a:rPr lang="en-US" altLang="ja-JP" sz="900" b="0" u="none" strike="noStrike" kern="1200" dirty="0">
                          <a:solidFill>
                            <a:schemeClr val="tx1"/>
                          </a:solidFill>
                          <a:effectLst/>
                        </a:rPr>
                        <a:t>12MD/</a:t>
                      </a:r>
                      <a:r>
                        <a:rPr lang="ja-JP" altLang="en-US" sz="900" b="0" u="none" strike="noStrike" kern="1200" dirty="0">
                          <a:solidFill>
                            <a:schemeClr val="tx1"/>
                          </a:solidFill>
                          <a:effectLst/>
                        </a:rPr>
                        <a:t>システム、残り</a:t>
                      </a:r>
                      <a:r>
                        <a:rPr lang="en-US" altLang="ja-JP" sz="900" b="0" u="none" strike="noStrike" kern="1200" dirty="0">
                          <a:solidFill>
                            <a:schemeClr val="tx1"/>
                          </a:solidFill>
                          <a:effectLst/>
                        </a:rPr>
                        <a:t>29</a:t>
                      </a:r>
                      <a:r>
                        <a:rPr lang="ja-JP" altLang="en-US" sz="900" b="0" u="none" strike="noStrike" kern="1200" dirty="0">
                          <a:solidFill>
                            <a:schemeClr val="tx1"/>
                          </a:solidFill>
                          <a:effectLst/>
                          <a:latin typeface="+mn-lt"/>
                          <a:ea typeface="+mn-ea"/>
                          <a:cs typeface="+mn-cs"/>
                        </a:rPr>
                        <a:t>システムは</a:t>
                      </a:r>
                      <a:r>
                        <a:rPr lang="en-US" altLang="ja-JP" sz="900" b="0" u="none" strike="noStrike" kern="1200" dirty="0">
                          <a:solidFill>
                            <a:schemeClr val="tx1"/>
                          </a:solidFill>
                          <a:effectLst/>
                          <a:latin typeface="+mn-lt"/>
                          <a:ea typeface="+mn-ea"/>
                          <a:cs typeface="+mn-cs"/>
                        </a:rPr>
                        <a:t>2</a:t>
                      </a:r>
                      <a:r>
                        <a:rPr lang="ja-JP" altLang="en-US" sz="900" b="0" u="none" strike="noStrike" kern="1200" dirty="0">
                          <a:solidFill>
                            <a:schemeClr val="tx1"/>
                          </a:solidFill>
                          <a:effectLst/>
                          <a:latin typeface="+mn-lt"/>
                          <a:ea typeface="+mn-ea"/>
                          <a:cs typeface="+mn-cs"/>
                        </a:rPr>
                        <a:t>回実施</a:t>
                      </a:r>
                      <a:r>
                        <a:rPr lang="en-US" altLang="ja-JP" sz="900" b="0" u="none" strike="noStrike" kern="1200" dirty="0">
                          <a:solidFill>
                            <a:schemeClr val="tx1"/>
                          </a:solidFill>
                          <a:effectLst/>
                          <a:latin typeface="+mn-lt"/>
                          <a:ea typeface="+mn-ea"/>
                          <a:cs typeface="+mn-cs"/>
                        </a:rPr>
                        <a:t>4MD</a:t>
                      </a:r>
                      <a:r>
                        <a:rPr lang="en-US" altLang="ja-JP" sz="900" b="0" u="none" strike="noStrike" kern="1200" dirty="0">
                          <a:solidFill>
                            <a:schemeClr val="tx1"/>
                          </a:solidFill>
                          <a:effectLst/>
                        </a:rPr>
                        <a:t>/</a:t>
                      </a:r>
                      <a:r>
                        <a:rPr lang="ja-JP" altLang="en-US" sz="900" b="0" u="none" strike="noStrike" kern="1200" dirty="0">
                          <a:solidFill>
                            <a:schemeClr val="tx1"/>
                          </a:solidFill>
                          <a:effectLst/>
                        </a:rPr>
                        <a:t>システム</a:t>
                      </a:r>
                      <a:endParaRPr lang="ja-JP" altLang="en-US" sz="1050" b="0" i="0" u="none" strike="sngStrike" kern="1200" baseline="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705557341"/>
                  </a:ext>
                </a:extLst>
              </a:tr>
              <a:tr h="182995">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性能測定、</a:t>
                      </a:r>
                      <a:r>
                        <a:rPr lang="en-US" altLang="ja-JP" sz="1050" b="0" u="none" strike="noStrike" kern="1200" dirty="0">
                          <a:solidFill>
                            <a:schemeClr val="tx1"/>
                          </a:solidFill>
                          <a:effectLst/>
                          <a:latin typeface="+mn-lt"/>
                          <a:ea typeface="+mn-ea"/>
                          <a:cs typeface="+mn-cs"/>
                        </a:rPr>
                        <a:t>Tunning</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6.00</a:t>
                      </a:r>
                    </a:p>
                  </a:txBody>
                  <a:tcPr marL="0" marR="0" marT="0" marB="0" anchor="ctr"/>
                </a:tc>
                <a:tc>
                  <a:txBody>
                    <a:bodyPr/>
                    <a:lstStyle/>
                    <a:p>
                      <a:pPr marL="0" algn="l" defTabSz="914400" rtl="0" eaLnBrk="1" fontAlgn="b" latinLnBrk="0" hangingPunct="1"/>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346797334"/>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検収対応、</a:t>
                      </a:r>
                      <a:r>
                        <a:rPr lang="en-US" altLang="ja-JP" sz="1050" b="0" u="none" strike="noStrike" kern="1200">
                          <a:solidFill>
                            <a:schemeClr val="tx1"/>
                          </a:solidFill>
                          <a:effectLst/>
                          <a:latin typeface="+mn-lt"/>
                          <a:ea typeface="+mn-ea"/>
                          <a:cs typeface="+mn-cs"/>
                        </a:rPr>
                        <a:t>UAT</a:t>
                      </a:r>
                      <a:r>
                        <a:rPr lang="ja-JP" altLang="en-US" sz="1050" b="0" u="none" strike="noStrike" kern="1200">
                          <a:solidFill>
                            <a:schemeClr val="tx1"/>
                          </a:solidFill>
                          <a:effectLst/>
                          <a:latin typeface="+mn-lt"/>
                          <a:ea typeface="+mn-ea"/>
                          <a:cs typeface="+mn-cs"/>
                        </a:rPr>
                        <a:t>支援、リリース</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3197948973"/>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初期サポート</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4</a:t>
                      </a:r>
                      <a:r>
                        <a:rPr lang="ja-JP" altLang="en-US" sz="1050" b="0" u="none" strike="noStrike" kern="1200" dirty="0">
                          <a:solidFill>
                            <a:schemeClr val="tx1"/>
                          </a:solidFill>
                          <a:effectLst/>
                          <a:latin typeface="+mn-lt"/>
                          <a:ea typeface="+mn-ea"/>
                          <a:cs typeface="+mn-cs"/>
                        </a:rPr>
                        <a:t>週間程度の問い合わせ</a:t>
                      </a:r>
                      <a:r>
                        <a:rPr lang="en-US" altLang="ja-JP" sz="1050" b="0" u="none" strike="noStrike" kern="1200" dirty="0">
                          <a:solidFill>
                            <a:schemeClr val="tx1"/>
                          </a:solidFill>
                          <a:effectLst/>
                          <a:latin typeface="+mn-lt"/>
                          <a:ea typeface="+mn-ea"/>
                          <a:cs typeface="+mn-cs"/>
                        </a:rPr>
                        <a:t>,</a:t>
                      </a:r>
                      <a:r>
                        <a:rPr lang="ja-JP" altLang="en-US" sz="1050" b="0" u="none" strike="noStrike" kern="1200" dirty="0">
                          <a:solidFill>
                            <a:schemeClr val="tx1"/>
                          </a:solidFill>
                          <a:effectLst/>
                          <a:latin typeface="+mn-lt"/>
                          <a:ea typeface="+mn-ea"/>
                          <a:cs typeface="+mn-cs"/>
                        </a:rPr>
                        <a:t>対応）、初期稼働後の運用保守は該当見積もり範囲外（備考参照）</a:t>
                      </a:r>
                    </a:p>
                  </a:txBody>
                  <a:tcPr marL="0" marR="0" marT="0" marB="0" anchor="ctr"/>
                </a:tc>
                <a:extLst>
                  <a:ext uri="{0D108BD9-81ED-4DB2-BD59-A6C34878D82A}">
                    <a16:rowId xmlns:a16="http://schemas.microsoft.com/office/drawing/2014/main" val="83785411"/>
                  </a:ext>
                </a:extLst>
              </a:tr>
            </a:tbl>
          </a:graphicData>
        </a:graphic>
      </p:graphicFrame>
      <p:sp>
        <p:nvSpPr>
          <p:cNvPr id="5" name="テキスト ボックス 4">
            <a:extLst>
              <a:ext uri="{FF2B5EF4-FFF2-40B4-BE49-F238E27FC236}">
                <a16:creationId xmlns:a16="http://schemas.microsoft.com/office/drawing/2014/main" id="{5F2B4342-4843-AA7D-BBBC-EEDC3E1CB57B}"/>
              </a:ext>
            </a:extLst>
          </p:cNvPr>
          <p:cNvSpPr txBox="1"/>
          <p:nvPr/>
        </p:nvSpPr>
        <p:spPr>
          <a:xfrm>
            <a:off x="453136" y="6086581"/>
            <a:ext cx="8280400" cy="338554"/>
          </a:xfrm>
          <a:prstGeom prst="rect">
            <a:avLst/>
          </a:prstGeom>
          <a:noFill/>
        </p:spPr>
        <p:txBody>
          <a:bodyPr wrap="square" rtlCol="0">
            <a:spAutoFit/>
          </a:bodyPr>
          <a:lstStyle/>
          <a:p>
            <a:r>
              <a:rPr kumimoji="1" lang="ja-JP" altLang="en-US" sz="1600" dirty="0"/>
              <a:t>工数：</a:t>
            </a:r>
            <a:r>
              <a:rPr kumimoji="1" lang="en-US" altLang="ja-JP" sz="1600" dirty="0"/>
              <a:t>213.06MM</a:t>
            </a:r>
            <a:r>
              <a:rPr kumimoji="1" lang="ja-JP" altLang="en-US" sz="1600" dirty="0"/>
              <a:t>、</a:t>
            </a:r>
            <a:r>
              <a:rPr lang="ja-JP" altLang="en-US" sz="1600" dirty="0"/>
              <a:t>費用： </a:t>
            </a:r>
            <a:r>
              <a:rPr kumimoji="1" lang="en-US" altLang="ja-JP" sz="1600" dirty="0"/>
              <a:t>1.53</a:t>
            </a:r>
            <a:r>
              <a:rPr kumimoji="1" lang="ja-JP" altLang="en-US" sz="1600" dirty="0"/>
              <a:t>億</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p:cNvSpPr txBox="1"/>
          <p:nvPr/>
        </p:nvSpPr>
        <p:spPr>
          <a:xfrm>
            <a:off x="414336" y="783771"/>
            <a:ext cx="11490793" cy="532424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提案のまとめ: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本方案により、効率的でセキュアな</a:t>
            </a:r>
            <a:r>
              <a:rPr kumimoji="0" lang="ja-JP" altLang="en-US" dirty="0">
                <a:latin typeface="Arial" panose="020B0604020202020204" pitchFamily="34" charset="0"/>
              </a:rPr>
              <a:t>文書</a:t>
            </a:r>
            <a:r>
              <a:rPr kumimoji="0" lang="zh-CN" altLang="zh-CN" dirty="0">
                <a:latin typeface="Arial" panose="020B0604020202020204" pitchFamily="34" charset="0"/>
              </a:rPr>
              <a:t>管理を実現。</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3</a:t>
            </a:r>
            <a:r>
              <a:rPr kumimoji="0" lang="en-US" altLang="ja-JP" baseline="30000" dirty="0">
                <a:latin typeface="Arial" panose="020B0604020202020204" pitchFamily="34" charset="0"/>
              </a:rPr>
              <a:t>rd</a:t>
            </a:r>
            <a:r>
              <a:rPr kumimoji="0" lang="en-US" altLang="ja-JP" dirty="0">
                <a:latin typeface="Arial" panose="020B0604020202020204" pitchFamily="34" charset="0"/>
              </a:rPr>
              <a:t> Party</a:t>
            </a:r>
            <a:r>
              <a:rPr kumimoji="0" lang="ja-JP" altLang="en-US" dirty="0">
                <a:latin typeface="Arial" panose="020B0604020202020204" pitchFamily="34" charset="0"/>
              </a:rPr>
              <a:t>の</a:t>
            </a:r>
            <a:r>
              <a:rPr kumimoji="0" lang="en-US" altLang="ja-JP" dirty="0">
                <a:latin typeface="Arial" panose="020B0604020202020204" pitchFamily="34" charset="0"/>
              </a:rPr>
              <a:t>CMS</a:t>
            </a:r>
            <a:r>
              <a:rPr kumimoji="0" lang="ja-JP" altLang="en-US" dirty="0">
                <a:latin typeface="Arial" panose="020B0604020202020204" pitchFamily="34" charset="0"/>
              </a:rPr>
              <a:t>パッケージを導入せず、</a:t>
            </a:r>
            <a:r>
              <a:rPr kumimoji="0" lang="en-US" altLang="ja-JP" dirty="0">
                <a:latin typeface="Arial" panose="020B0604020202020204" pitchFamily="34" charset="0"/>
              </a:rPr>
              <a:t>10</a:t>
            </a:r>
            <a:r>
              <a:rPr kumimoji="0" lang="ja-JP" altLang="en-US" dirty="0">
                <a:latin typeface="Arial" panose="020B0604020202020204" pitchFamily="34" charset="0"/>
              </a:rPr>
              <a:t>年間数億のライセンス費用節約</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次ステップ:</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Q/A</a:t>
            </a:r>
            <a:r>
              <a:rPr kumimoji="0" lang="ja-JP" altLang="en-US" dirty="0">
                <a:latin typeface="Arial" panose="020B0604020202020204" pitchFamily="34" charset="0"/>
              </a:rPr>
              <a:t>ミーティングの日程調整</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本方案</a:t>
            </a:r>
            <a:r>
              <a:rPr kumimoji="0" lang="ja-JP" altLang="en-US" dirty="0">
                <a:latin typeface="Arial" panose="020B0604020202020204" pitchFamily="34" charset="0"/>
              </a:rPr>
              <a:t>に合意が取れた場合、社内稟議に必要となる期間の確認</a:t>
            </a:r>
            <a:endParaRPr kumimoji="0" lang="zh-CN" altLang="zh-CN"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連絡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dirty="0">
                <a:latin typeface="Arial" panose="020B0604020202020204" pitchFamily="34" charset="0"/>
                <a:hlinkClick r:id="rId3"/>
              </a:rPr>
              <a:t>yli@gcsoft-jp.com</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dirty="0">
                <a:latin typeface="Arial" panose="020B0604020202020204" pitchFamily="34" charset="0"/>
              </a:rPr>
              <a:t>zdhe@gcsoft-jp.com</a:t>
            </a:r>
            <a:endParaRPr kumimoji="0" lang="zh-CN"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dirty="0">
                <a:latin typeface="Arial" panose="020B0604020202020204" pitchFamily="34" charset="0"/>
              </a:rPr>
              <a:t>cc: admin@gcsoft-jp.com </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lang="ja-JP" altLang="en-US"/>
              <a:t>備考</a:t>
            </a:r>
          </a:p>
        </p:txBody>
      </p:sp>
      <p:sp>
        <p:nvSpPr>
          <p:cNvPr id="2" name="字幕 1">
            <a:extLst>
              <a:ext uri="{FF2B5EF4-FFF2-40B4-BE49-F238E27FC236}">
                <a16:creationId xmlns:a16="http://schemas.microsoft.com/office/drawing/2014/main" id="{EDCC7EBC-091F-22E7-1716-7E345DA138F8}"/>
              </a:ext>
            </a:extLst>
          </p:cNvPr>
          <p:cNvSpPr>
            <a:spLocks noGrp="1"/>
          </p:cNvSpPr>
          <p:nvPr>
            <p:ph type="subTitle" idx="1"/>
          </p:nvPr>
        </p:nvSpPr>
        <p:spPr/>
        <p:txBody>
          <a:bodyPr/>
          <a:lstStyle/>
          <a:p>
            <a:endParaRPr lang="ja-JP" alt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dirty="0"/>
              <a:t>アーキテクチャ全体</a:t>
            </a:r>
            <a:br>
              <a:rPr lang="en-US" altLang="ja-JP" dirty="0"/>
            </a:br>
            <a:r>
              <a:rPr lang="ja-JP" altLang="en-US" sz="2200" dirty="0"/>
              <a:t>添付ファイルは</a:t>
            </a:r>
            <a:r>
              <a:rPr lang="en-US" altLang="ja-JP" sz="2200" dirty="0" err="1"/>
              <a:t>DaTAVERSE</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6"/>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7"/>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8"/>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9"/>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1"/>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a:t>ファイル</a:t>
            </a:r>
            <a:r>
              <a:rPr lang="en-US" altLang="ja-JP" sz="1200"/>
              <a:t>ID</a:t>
            </a:r>
            <a:r>
              <a:rPr lang="ja-JP" altLang="en-US" sz="1200"/>
              <a:t>で</a:t>
            </a:r>
            <a:r>
              <a:rPr lang="en-US" altLang="ja-JP" sz="1200" err="1"/>
              <a:t>Sqlserver</a:t>
            </a:r>
            <a:r>
              <a:rPr lang="en-US" altLang="ja-JP" sz="1200"/>
              <a:t> </a:t>
            </a:r>
            <a:r>
              <a:rPr lang="ja-JP" altLang="en-US" sz="1200"/>
              <a:t>と</a:t>
            </a:r>
            <a:r>
              <a:rPr lang="en-US" altLang="ja-JP" sz="1200"/>
              <a:t>Dataverse</a:t>
            </a:r>
            <a:r>
              <a:rPr lang="ja-JP" altLang="en-US" sz="120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2"/>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3"/>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a:ln w="0"/>
                <a:solidFill>
                  <a:schemeClr val="accent1"/>
                </a:solidFill>
                <a:effectLst>
                  <a:outerShdw blurRad="38100" dist="25400" dir="5400000" algn="ctr" rotWithShape="0">
                    <a:srgbClr val="6E747A">
                      <a:alpha val="43000"/>
                    </a:srgbClr>
                  </a:outerShdw>
                </a:effectLst>
              </a:rPr>
              <a:t>Microsoft Data Center</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a:ln w="0"/>
                <a:solidFill>
                  <a:schemeClr val="accent1"/>
                </a:solidFill>
                <a:effectLst>
                  <a:outerShdw blurRad="38100" dist="25400" dir="5400000" algn="ctr" rotWithShape="0">
                    <a:srgbClr val="6E747A">
                      <a:alpha val="43000"/>
                    </a:srgbClr>
                  </a:outerShdw>
                </a:effectLst>
              </a:rPr>
              <a:t>MCC</a:t>
            </a:r>
            <a:r>
              <a:rPr kumimoji="1" lang="ja-JP" altLang="en-US">
                <a:ln w="0"/>
                <a:solidFill>
                  <a:schemeClr val="accent1"/>
                </a:solidFill>
                <a:effectLst>
                  <a:outerShdw blurRad="38100" dist="25400" dir="5400000" algn="ctr" rotWithShape="0">
                    <a:srgbClr val="6E747A">
                      <a:alpha val="43000"/>
                    </a:srgbClr>
                  </a:outerShdw>
                </a:effectLst>
              </a:rPr>
              <a:t>様</a:t>
            </a:r>
            <a:r>
              <a:rPr kumimoji="1" lang="en-US" altLang="ja-JP">
                <a:ln w="0"/>
                <a:solidFill>
                  <a:schemeClr val="accent1"/>
                </a:solidFill>
                <a:effectLst>
                  <a:outerShdw blurRad="38100" dist="25400" dir="5400000" algn="ctr" rotWithShape="0">
                    <a:srgbClr val="6E747A">
                      <a:alpha val="43000"/>
                    </a:srgbClr>
                  </a:outerShdw>
                </a:effectLst>
              </a:rPr>
              <a:t> </a:t>
            </a:r>
            <a:r>
              <a:rPr kumimoji="1" lang="ja-JP" altLang="en-US">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6"/>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6"/>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a:t>添付ファイル</a:t>
            </a:r>
            <a:endParaRPr lang="en-US" altLang="ja-JP" sz="105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a:t>添付ファイル</a:t>
            </a:r>
            <a:endParaRPr lang="en-US" altLang="ja-JP" sz="1050"/>
          </a:p>
          <a:p>
            <a:r>
              <a:rPr lang="ja-JP" altLang="en-US" sz="1050"/>
              <a:t>ファイル編集処理</a:t>
            </a:r>
            <a:endParaRPr lang="en-US" altLang="ja-JP" sz="105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が論理</a:t>
            </a:r>
            <a:r>
              <a:rPr lang="en-US" altLang="ja-JP">
                <a:solidFill>
                  <a:srgbClr val="0070C0"/>
                </a:solidFill>
              </a:rPr>
              <a:t>Flow</a:t>
            </a:r>
            <a:r>
              <a:rPr lang="ja-JP" altLang="en-US">
                <a:solidFill>
                  <a:srgbClr val="0070C0"/>
                </a:solidFill>
              </a:rPr>
              <a:t>（業務視点）</a:t>
            </a:r>
          </a:p>
        </p:txBody>
      </p:sp>
    </p:spTree>
    <p:extLst>
      <p:ext uri="{BB962C8B-B14F-4D97-AF65-F5344CB8AC3E}">
        <p14:creationId xmlns:p14="http://schemas.microsoft.com/office/powerpoint/2010/main" val="25153391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en-US" altLang="ja-JP" dirty="0"/>
              <a:t>POC</a:t>
            </a:r>
            <a:r>
              <a:rPr lang="ja-JP" altLang="en-US" dirty="0"/>
              <a:t>範囲</a:t>
            </a:r>
            <a:endParaRPr lang="ja-JP" altLang="en-US" dirty="0">
              <a:effectLst/>
            </a:endParaRPr>
          </a:p>
        </p:txBody>
      </p:sp>
      <p:graphicFrame>
        <p:nvGraphicFramePr>
          <p:cNvPr id="4" name="表 3">
            <a:extLst>
              <a:ext uri="{FF2B5EF4-FFF2-40B4-BE49-F238E27FC236}">
                <a16:creationId xmlns:a16="http://schemas.microsoft.com/office/drawing/2014/main" id="{7A494E27-83EC-A0A3-2082-E9A9D75C64D6}"/>
              </a:ext>
            </a:extLst>
          </p:cNvPr>
          <p:cNvGraphicFramePr>
            <a:graphicFrameLocks noGrp="1"/>
          </p:cNvGraphicFramePr>
          <p:nvPr>
            <p:extLst>
              <p:ext uri="{D42A27DB-BD31-4B8C-83A1-F6EECF244321}">
                <p14:modId xmlns:p14="http://schemas.microsoft.com/office/powerpoint/2010/main" val="3582880404"/>
              </p:ext>
            </p:extLst>
          </p:nvPr>
        </p:nvGraphicFramePr>
        <p:xfrm>
          <a:off x="414336" y="809538"/>
          <a:ext cx="11363327" cy="3097441"/>
        </p:xfrm>
        <a:graphic>
          <a:graphicData uri="http://schemas.openxmlformats.org/drawingml/2006/table">
            <a:tbl>
              <a:tblPr firstRow="1" bandRow="1">
                <a:tableStyleId>{7DF18680-E054-41AD-8BC1-D1AEF772440D}</a:tableStyleId>
              </a:tblPr>
              <a:tblGrid>
                <a:gridCol w="359026">
                  <a:extLst>
                    <a:ext uri="{9D8B030D-6E8A-4147-A177-3AD203B41FA5}">
                      <a16:colId xmlns:a16="http://schemas.microsoft.com/office/drawing/2014/main" val="1822749168"/>
                    </a:ext>
                  </a:extLst>
                </a:gridCol>
                <a:gridCol w="2728600">
                  <a:extLst>
                    <a:ext uri="{9D8B030D-6E8A-4147-A177-3AD203B41FA5}">
                      <a16:colId xmlns:a16="http://schemas.microsoft.com/office/drawing/2014/main" val="1141317570"/>
                    </a:ext>
                  </a:extLst>
                </a:gridCol>
                <a:gridCol w="8275701">
                  <a:extLst>
                    <a:ext uri="{9D8B030D-6E8A-4147-A177-3AD203B41FA5}">
                      <a16:colId xmlns:a16="http://schemas.microsoft.com/office/drawing/2014/main" val="371397195"/>
                    </a:ext>
                  </a:extLst>
                </a:gridCol>
              </a:tblGrid>
              <a:tr h="309744">
                <a:tc>
                  <a:txBody>
                    <a:bodyPr/>
                    <a:lstStyle/>
                    <a:p>
                      <a:pPr marL="0" algn="l" defTabSz="914400" rtl="0" eaLnBrk="1" fontAlgn="b" latinLnBrk="0" hangingPunct="1"/>
                      <a:r>
                        <a:rPr lang="ja-JP" altLang="en-US" sz="1100" b="0" u="none" strike="noStrike" kern="1200" dirty="0">
                          <a:solidFill>
                            <a:schemeClr val="bg1"/>
                          </a:solidFill>
                          <a:effectLst/>
                        </a:rPr>
                        <a:t>番号</a:t>
                      </a:r>
                      <a:endParaRPr lang="ja-JP" altLang="en-US"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bg1"/>
                          </a:solidFill>
                          <a:effectLst/>
                        </a:rPr>
                        <a:t>機能</a:t>
                      </a:r>
                      <a:endParaRPr lang="de-DE"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bg1"/>
                          </a:solidFill>
                          <a:effectLst/>
                        </a:rPr>
                        <a:t>説明</a:t>
                      </a:r>
                      <a:endParaRPr lang="ja-JP" altLang="en-US"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309744">
                <a:tc>
                  <a:txBody>
                    <a:bodyPr/>
                    <a:lstStyle/>
                    <a:p>
                      <a:pPr marL="0" algn="l" defTabSz="914400" rtl="0" eaLnBrk="1" fontAlgn="b" latinLnBrk="0" hangingPunct="1"/>
                      <a:r>
                        <a:rPr lang="en-US" altLang="ja-JP" sz="1100" b="0" u="none" strike="noStrike" kern="1200" dirty="0">
                          <a:solidFill>
                            <a:schemeClr val="tx1"/>
                          </a:solidFill>
                          <a:effectLst/>
                        </a:rPr>
                        <a:t>1</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a:latin typeface="Arial" panose="020B0604020202020204" pitchFamily="34" charset="0"/>
                        </a:rPr>
                        <a:t>File Batch</a:t>
                      </a:r>
                      <a:r>
                        <a:rPr kumimoji="0" lang="ja-JP" altLang="en-US" sz="1100" dirty="0">
                          <a:latin typeface="Arial" panose="020B0604020202020204" pitchFamily="34" charset="0"/>
                        </a:rPr>
                        <a:t> </a:t>
                      </a:r>
                      <a:r>
                        <a:rPr kumimoji="0" lang="en-US" altLang="ja-JP" sz="1100" dirty="0">
                          <a:latin typeface="Arial" panose="020B0604020202020204" pitchFamily="34" charset="0"/>
                        </a:rPr>
                        <a:t>Download</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000" dirty="0">
                          <a:latin typeface="Arial" panose="020B0604020202020204" pitchFamily="34" charset="0"/>
                        </a:rPr>
                        <a:t>Html Page</a:t>
                      </a:r>
                      <a:r>
                        <a:rPr kumimoji="0" lang="ja-JP" altLang="en-US" sz="1000" dirty="0">
                          <a:latin typeface="Arial" panose="020B0604020202020204" pitchFamily="34" charset="0"/>
                        </a:rPr>
                        <a:t>の</a:t>
                      </a:r>
                      <a:r>
                        <a:rPr kumimoji="0" lang="en-US" altLang="ja-JP" sz="1000" dirty="0">
                          <a:latin typeface="Arial" panose="020B0604020202020204" pitchFamily="34" charset="0"/>
                        </a:rPr>
                        <a:t>JavaScript</a:t>
                      </a:r>
                      <a:r>
                        <a:rPr kumimoji="0" lang="ja-JP" altLang="en-US" sz="1000" dirty="0">
                          <a:latin typeface="Arial" panose="020B0604020202020204" pitchFamily="34" charset="0"/>
                        </a:rPr>
                        <a:t>で複数ファイルを指定場所にそれぞれ保存</a:t>
                      </a:r>
                      <a:endParaRPr lang="en-US" altLang="ja-JP" sz="10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929233">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2</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err="1">
                          <a:latin typeface="Arial" panose="020B0604020202020204" pitchFamily="34" charset="0"/>
                          <a:ea typeface="Yu Gothic UI" panose="020B0500000000000000" pitchFamily="50" charset="-128"/>
                        </a:rPr>
                        <a:t>GraphAPI</a:t>
                      </a:r>
                      <a:r>
                        <a:rPr kumimoji="0" lang="ja-JP" altLang="en-US" sz="1100" dirty="0">
                          <a:latin typeface="Arial" panose="020B0604020202020204" pitchFamily="34" charset="0"/>
                          <a:ea typeface="Yu Gothic UI" panose="020B0500000000000000" pitchFamily="50" charset="-128"/>
                        </a:rPr>
                        <a:t>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添付ファイル検索の実機検証（性能、制限含む）</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１．ファイル名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２．ファイル内容含む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849158256"/>
                  </a:ext>
                </a:extLst>
              </a:tr>
              <a:tr h="309744">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kumimoji="0" lang="ja-JP" altLang="en-US" sz="1100" dirty="0">
                          <a:latin typeface="Arial" panose="020B0604020202020204" pitchFamily="34" charset="0"/>
                          <a:ea typeface="Yu Gothic UI" panose="020B0500000000000000" pitchFamily="50" charset="-128"/>
                        </a:rPr>
                        <a:t>性能</a:t>
                      </a:r>
                      <a:r>
                        <a:rPr kumimoji="0" lang="en-US" altLang="ja-JP" sz="1100" dirty="0">
                          <a:latin typeface="Arial" panose="020B0604020202020204" pitchFamily="34" charset="0"/>
                          <a:ea typeface="Yu Gothic UI" panose="020B0500000000000000" pitchFamily="50" charset="-128"/>
                        </a:rPr>
                        <a:t>Facility</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kern="1200" dirty="0">
                          <a:solidFill>
                            <a:schemeClr val="dk1"/>
                          </a:solidFill>
                          <a:latin typeface="Arial" panose="020B0604020202020204" pitchFamily="34" charset="0"/>
                          <a:ea typeface="Yu Gothic UI" panose="020B0500000000000000" pitchFamily="50" charset="-128"/>
                          <a:cs typeface="+mn-cs"/>
                        </a:rPr>
                        <a:t>Dummy</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データを利用した性能評価、</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1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年間データ、</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2000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を想定で、</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Sizing</a:t>
                      </a:r>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4961108"/>
                  </a:ext>
                </a:extLst>
              </a:tr>
              <a:tr h="309744">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オンライン編集の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に安心させるためのデモ（実装技術リスクがない）</a:t>
                      </a:r>
                    </a:p>
                  </a:txBody>
                  <a:tcPr marL="0" marR="0" marT="0" marB="0" anchor="ctr"/>
                </a:tc>
                <a:extLst>
                  <a:ext uri="{0D108BD9-81ED-4DB2-BD59-A6C34878D82A}">
                    <a16:rowId xmlns:a16="http://schemas.microsoft.com/office/drawing/2014/main" val="366353059"/>
                  </a:ext>
                </a:extLst>
              </a:tr>
              <a:tr h="309744">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dirty="0"/>
                        <a:t>利用者は必要な項目に応じてビューの設定</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主に性能観点（実装面の技術リスクがない）</a:t>
                      </a:r>
                    </a:p>
                  </a:txBody>
                  <a:tcPr marL="0" marR="0" marT="0" marB="0" anchor="ctr"/>
                </a:tc>
                <a:extLst>
                  <a:ext uri="{0D108BD9-81ED-4DB2-BD59-A6C34878D82A}">
                    <a16:rowId xmlns:a16="http://schemas.microsoft.com/office/drawing/2014/main" val="1462443356"/>
                  </a:ext>
                </a:extLst>
              </a:tr>
              <a:tr h="309744">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0403059"/>
                  </a:ext>
                </a:extLst>
              </a:tr>
              <a:tr h="309744">
                <a:tc>
                  <a:txBody>
                    <a:bodyPr/>
                    <a:lstStyle/>
                    <a:p>
                      <a:pPr marL="0" algn="l" defTabSz="914400" rtl="0" eaLnBrk="1" fontAlgn="b" latinLnBrk="0" hangingPunct="1"/>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728759274"/>
                  </a:ext>
                </a:extLst>
              </a:tr>
            </a:tbl>
          </a:graphicData>
        </a:graphic>
      </p:graphicFrame>
    </p:spTree>
    <p:extLst>
      <p:ext uri="{BB962C8B-B14F-4D97-AF65-F5344CB8AC3E}">
        <p14:creationId xmlns:p14="http://schemas.microsoft.com/office/powerpoint/2010/main" val="1024482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サポートとメンテナンス－瑕疵範囲、保守提案</a:t>
            </a:r>
            <a:endParaRPr lang="ja-JP" altLang="en-US" dirty="0">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lang="ja-JP" altLang="en-US" dirty="0"/>
              <a:t>瑕疵範囲は半年とする（バグ対応のみが対象、本見積もりに含む）</a:t>
            </a:r>
            <a:endParaRPr lang="en-US" altLang="ja-JP" dirty="0"/>
          </a:p>
          <a:p>
            <a:pPr marL="28575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システム</a:t>
            </a:r>
            <a:r>
              <a:rPr kumimoji="0" lang="en-US" altLang="ja-JP" dirty="0">
                <a:latin typeface="Arial" panose="020B0604020202020204" pitchFamily="34" charset="0"/>
              </a:rPr>
              <a:t>GA</a:t>
            </a:r>
            <a:r>
              <a:rPr kumimoji="0" lang="ja-JP" altLang="en-US" dirty="0">
                <a:latin typeface="Arial" panose="020B0604020202020204" pitchFamily="34" charset="0"/>
              </a:rPr>
              <a:t>の対応体制は、本見積の</a:t>
            </a:r>
            <a:r>
              <a:rPr lang="ja-JP" altLang="en-US" dirty="0"/>
              <a:t>初期サポートに含む（稼働日からの</a:t>
            </a:r>
            <a:r>
              <a:rPr lang="en-US" altLang="ja-JP" dirty="0"/>
              <a:t>1</a:t>
            </a:r>
            <a:r>
              <a:rPr lang="ja-JP" altLang="en-US" dirty="0"/>
              <a:t>か月を想定、見積もりに含む）</a:t>
            </a:r>
            <a:endParaRPr kumimoji="0" lang="en-US" altLang="ja-JP"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運用保守費用は今回の見積もりに含まない（システム</a:t>
            </a:r>
            <a:r>
              <a:rPr kumimoji="0" lang="en-US" altLang="ja-JP" dirty="0">
                <a:latin typeface="Arial" panose="020B0604020202020204" pitchFamily="34" charset="0"/>
              </a:rPr>
              <a:t>GA</a:t>
            </a:r>
            <a:r>
              <a:rPr kumimoji="0" lang="ja-JP" altLang="en-US" dirty="0">
                <a:latin typeface="Arial" panose="020B0604020202020204" pitchFamily="34" charset="0"/>
              </a:rPr>
              <a:t>の第二か月～）</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初期半年、</a:t>
            </a:r>
            <a:r>
              <a:rPr kumimoji="0" lang="en-US" altLang="ja-JP" dirty="0">
                <a:latin typeface="Arial" panose="020B0604020202020204" pitchFamily="34" charset="0"/>
              </a:rPr>
              <a:t>8</a:t>
            </a:r>
            <a:r>
              <a:rPr kumimoji="0" lang="ja-JP" altLang="en-US" dirty="0">
                <a:latin typeface="Arial" panose="020B0604020202020204" pitchFamily="34" charset="0"/>
              </a:rPr>
              <a:t>人体制、</a:t>
            </a:r>
            <a:r>
              <a:rPr kumimoji="0" lang="en-US" altLang="ja-JP" dirty="0">
                <a:latin typeface="Arial" panose="020B0604020202020204" pitchFamily="34" charset="0"/>
              </a:rPr>
              <a:t>Onsite</a:t>
            </a:r>
            <a:r>
              <a:rPr kumimoji="0" lang="ja-JP" altLang="en-US" dirty="0">
                <a:latin typeface="Arial" panose="020B0604020202020204" pitchFamily="34" charset="0"/>
              </a:rPr>
              <a:t> </a:t>
            </a:r>
            <a:r>
              <a:rPr kumimoji="0" lang="en-US" altLang="ja-JP" dirty="0">
                <a:latin typeface="Arial" panose="020B0604020202020204" pitchFamily="34" charset="0"/>
              </a:rPr>
              <a:t>2</a:t>
            </a:r>
            <a:r>
              <a:rPr kumimoji="0" lang="ja-JP" altLang="en-US" dirty="0">
                <a:latin typeface="Arial" panose="020B0604020202020204" pitchFamily="34" charset="0"/>
              </a:rPr>
              <a:t>人、</a:t>
            </a:r>
            <a:r>
              <a:rPr kumimoji="0" lang="en-US" altLang="ja-JP" dirty="0">
                <a:latin typeface="Arial" panose="020B0604020202020204" pitchFamily="34" charset="0"/>
              </a:rPr>
              <a:t>Offsite 6</a:t>
            </a:r>
            <a:r>
              <a:rPr kumimoji="0" lang="ja-JP" altLang="en-US" dirty="0">
                <a:latin typeface="Arial" panose="020B0604020202020204" pitchFamily="34" charset="0"/>
              </a:rPr>
              <a:t>人）</a:t>
            </a:r>
            <a:r>
              <a:rPr kumimoji="0" lang="en-US" altLang="ja-JP" dirty="0">
                <a:latin typeface="Arial" panose="020B0604020202020204" pitchFamily="34" charset="0"/>
              </a:rPr>
              <a:t>&lt;=550</a:t>
            </a:r>
            <a:r>
              <a:rPr kumimoji="0" lang="ja-JP" altLang="en-US" dirty="0">
                <a:latin typeface="Arial" panose="020B0604020202020204" pitchFamily="34" charset="0"/>
              </a:rPr>
              <a:t>万</a:t>
            </a:r>
            <a:r>
              <a:rPr kumimoji="0" lang="en-US" altLang="ja-JP" dirty="0">
                <a:latin typeface="Arial" panose="020B0604020202020204" pitchFamily="34" charset="0"/>
              </a:rPr>
              <a:t>/</a:t>
            </a:r>
            <a:r>
              <a:rPr kumimoji="0" lang="ja-JP" altLang="en-US" dirty="0">
                <a:latin typeface="Arial" panose="020B0604020202020204" pitchFamily="34" charset="0"/>
              </a:rPr>
              <a:t>月程度。</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半年後、体制が半分に縮小すると想定</a:t>
            </a:r>
            <a:endParaRPr lang="ja-JP" altLang="en-US" dirty="0"/>
          </a:p>
          <a:p>
            <a:pPr marL="742950" lvl="1" indent="-285750" eaLnBrk="0" fontAlgn="base" hangingPunct="0">
              <a:spcBef>
                <a:spcPct val="0"/>
              </a:spcBef>
              <a:spcAft>
                <a:spcPct val="0"/>
              </a:spcAft>
              <a:buFont typeface="Arial" panose="020B0604020202020204" pitchFamily="34" charset="0"/>
              <a:buChar char="•"/>
            </a:pPr>
            <a:endParaRPr lang="ja-JP" altLang="en-US" dirty="0">
              <a:effectLs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zh-CN" altLang="en-US" dirty="0"/>
              <a:t>目次</a:t>
            </a:r>
            <a:endParaRPr kumimoji="1" lang="ja-JP" altLang="en-US" dirty="0"/>
          </a:p>
        </p:txBody>
      </p:sp>
      <p:sp>
        <p:nvSpPr>
          <p:cNvPr id="15" name="テキスト ボックス 14"/>
          <p:cNvSpPr txBox="1"/>
          <p:nvPr/>
        </p:nvSpPr>
        <p:spPr>
          <a:xfrm>
            <a:off x="414337" y="904240"/>
            <a:ext cx="11366184" cy="537464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と目的</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全体アーキテクチャ（添付ファイルは</a:t>
            </a:r>
            <a:r>
              <a:rPr lang="en-US" altLang="ja-JP" sz="1600" dirty="0"/>
              <a:t>SPO</a:t>
            </a:r>
            <a:r>
              <a:rPr lang="ja-JP" altLang="en-US" sz="1600" dirty="0"/>
              <a:t>へ保存の案）</a:t>
            </a:r>
            <a:endParaRPr lang="en-US" altLang="ja-JP" sz="1600" dirty="0"/>
          </a:p>
          <a:p>
            <a:pPr marL="285750" indent="-285750">
              <a:buFont typeface="Arial" panose="020B0604020202020204" pitchFamily="34" charset="0"/>
              <a:buChar char="•"/>
            </a:pPr>
            <a:r>
              <a:rPr lang="ja-JP" altLang="en-US" sz="1600" dirty="0"/>
              <a:t>文書</a:t>
            </a:r>
            <a:r>
              <a:rPr lang="zh-TW" altLang="en-US" sz="1600" dirty="0"/>
              <a:t>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ユーザ別の属性管理（</a:t>
            </a:r>
            <a:r>
              <a:rPr lang="en-US" altLang="ja-JP" sz="1600" dirty="0"/>
              <a:t>Option</a:t>
            </a:r>
            <a:r>
              <a:rPr lang="ja-JP" altLang="en-US" sz="1600" dirty="0"/>
              <a:t>）</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a:p>
            <a:pPr marL="742950" lvl="1" indent="-285750">
              <a:buFont typeface="Arial" panose="020B0604020202020204" pitchFamily="34" charset="0"/>
              <a:buChar char="•"/>
            </a:pPr>
            <a:r>
              <a:rPr lang="ja-JP" altLang="en-US" sz="1600" dirty="0"/>
              <a:t>案</a:t>
            </a:r>
            <a:r>
              <a:rPr lang="en-US" altLang="ja-JP" sz="1600" dirty="0"/>
              <a:t>B</a:t>
            </a:r>
            <a:r>
              <a:rPr lang="ja-JP" altLang="en-US" sz="1600" dirty="0"/>
              <a:t>（添付ファイルは</a:t>
            </a:r>
            <a:r>
              <a:rPr lang="en-US" altLang="ja-JP" sz="1600" dirty="0"/>
              <a:t>Dataverse</a:t>
            </a:r>
            <a:r>
              <a:rPr lang="ja-JP" altLang="en-US" sz="1600" dirty="0"/>
              <a:t>へ保存の案）</a:t>
            </a:r>
            <a:endParaRPr lang="en-US" altLang="ja-JP" sz="1600" dirty="0"/>
          </a:p>
          <a:p>
            <a:pPr marL="742950" lvl="1" indent="-285750">
              <a:buFont typeface="Arial" panose="020B0604020202020204" pitchFamily="34" charset="0"/>
              <a:buChar char="•"/>
            </a:pPr>
            <a:r>
              <a:rPr lang="en-US" altLang="ja-JP" sz="1600" dirty="0"/>
              <a:t>POC</a:t>
            </a:r>
            <a:r>
              <a:rPr lang="ja-JP" altLang="en-US" sz="1600" dirty="0"/>
              <a:t>範囲</a:t>
            </a:r>
            <a:endParaRPr lang="en-US" altLang="ja-JP" sz="1600" dirty="0"/>
          </a:p>
          <a:p>
            <a:pPr marL="742950" lvl="1" indent="-285750">
              <a:buFont typeface="Arial" panose="020B0604020202020204" pitchFamily="34" charset="0"/>
              <a:buChar char="•"/>
            </a:pPr>
            <a:r>
              <a:rPr lang="ja-JP" altLang="en-US" sz="1600" dirty="0"/>
              <a:t>サポートとメンテナンス－瑕疵範囲、保守提案</a:t>
            </a:r>
            <a:endParaRPr lang="en-US" altLang="ja-JP"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提案の背景と目的</a:t>
            </a:r>
            <a:endParaRPr kumimoji="1" lang="ja-JP" altLang="en-US" dirty="0"/>
          </a:p>
        </p:txBody>
      </p:sp>
      <p:sp>
        <p:nvSpPr>
          <p:cNvPr id="15" name="テキスト ボックス 14"/>
          <p:cNvSpPr txBox="1"/>
          <p:nvPr/>
        </p:nvSpPr>
        <p:spPr>
          <a:xfrm>
            <a:off x="414337" y="782995"/>
            <a:ext cx="11411904" cy="5541605"/>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nSpc>
                <a:spcPct val="150000"/>
              </a:lnSpc>
            </a:pPr>
            <a:r>
              <a:rPr lang="ja-JP" altLang="en-US" sz="1600" dirty="0">
                <a:latin typeface="Yu Gothic UI" panose="020B0500000000000000" pitchFamily="50" charset="-128"/>
                <a:ea typeface="Yu Gothic UI" panose="020B0500000000000000" pitchFamily="50" charset="-128"/>
              </a:rPr>
              <a:t>提案の背景</a:t>
            </a:r>
            <a:r>
              <a:rPr lang="en-US" altLang="ja-JP" sz="1600" dirty="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en-US" altLang="ja-JP" sz="1600" dirty="0" err="1">
                <a:latin typeface="Yu Gothic UI" panose="020B0500000000000000" pitchFamily="50" charset="-128"/>
                <a:ea typeface="Yu Gothic UI" panose="020B0500000000000000" pitchFamily="50" charset="-128"/>
              </a:rPr>
              <a:t>LotusNotes</a:t>
            </a:r>
            <a:r>
              <a:rPr lang="ja-JP" altLang="en-US" sz="1600" dirty="0">
                <a:latin typeface="Yu Gothic UI" panose="020B0500000000000000" pitchFamily="50" charset="-128"/>
                <a:ea typeface="Yu Gothic UI" panose="020B0500000000000000" pitchFamily="50" charset="-128"/>
              </a:rPr>
              <a:t>のサポート中止に伴い、</a:t>
            </a:r>
            <a:r>
              <a:rPr lang="en-US" altLang="ja-JP" sz="1600" dirty="0">
                <a:latin typeface="Yu Gothic UI" panose="020B0500000000000000" pitchFamily="50" charset="-128"/>
                <a:ea typeface="Yu Gothic UI" panose="020B0500000000000000" pitchFamily="50" charset="-128"/>
              </a:rPr>
              <a:t>Notes</a:t>
            </a:r>
            <a:r>
              <a:rPr lang="ja-JP" altLang="en-US" sz="1600" dirty="0">
                <a:latin typeface="Yu Gothic UI" panose="020B0500000000000000" pitchFamily="50" charset="-128"/>
                <a:ea typeface="Yu Gothic UI" panose="020B0500000000000000" pitchFamily="50" charset="-128"/>
              </a:rPr>
              <a:t>で構築されている業務アプリケーションを移行・再構築する必要があり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今回の再構築対象業務は、文書を管理する業務アプリケーションであり、文書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の部分機能と類似する機能が求められます。</a:t>
            </a: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による実現が制約が多く、困難で、複数のパッケージを検討・評価しました。</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検討・評価対象の</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要求される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り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また、</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 ライセンス費用などにより、運用コストを影響します。</a:t>
            </a:r>
            <a:endParaRPr lang="en-US" altLang="ja-JP" sz="1600" dirty="0">
              <a:latin typeface="Yu Gothic UI" panose="020B0500000000000000" pitchFamily="50" charset="-128"/>
              <a:ea typeface="Yu Gothic UI" panose="020B0500000000000000" pitchFamily="50" charset="-128"/>
            </a:endParaRPr>
          </a:p>
          <a:p>
            <a:pPr>
              <a:lnSpc>
                <a:spcPct val="150000"/>
              </a:lnSpc>
            </a:pPr>
            <a:r>
              <a:rPr lang="ja-JP" altLang="en-US" sz="1600" dirty="0">
                <a:latin typeface="Yu Gothic UI" panose="020B0500000000000000" pitchFamily="50" charset="-128"/>
                <a:ea typeface="Yu Gothic UI" panose="020B0500000000000000" pitchFamily="50" charset="-128"/>
              </a:rPr>
              <a:t>提案</a:t>
            </a:r>
            <a:r>
              <a:rPr lang="en-US" altLang="ja-JP" sz="1600" dirty="0">
                <a:latin typeface="Yu Gothic UI" panose="020B0500000000000000" pitchFamily="50" charset="-128"/>
                <a:ea typeface="Yu Gothic UI" panose="020B0500000000000000" pitchFamily="50" charset="-128"/>
              </a:rPr>
              <a:t>: </a:t>
            </a:r>
          </a:p>
          <a:p>
            <a:pPr lvl="1">
              <a:lnSpc>
                <a:spcPct val="150000"/>
              </a:lnSpc>
            </a:pPr>
            <a:r>
              <a:rPr lang="ja-JP" altLang="en-US" sz="1600" dirty="0">
                <a:latin typeface="Yu Gothic UI" panose="020B0500000000000000" pitchFamily="50" charset="-128"/>
                <a:ea typeface="Yu Gothic UI" panose="020B0500000000000000" pitchFamily="50" charset="-128"/>
              </a:rPr>
              <a:t>効率的な文書管理を実現し、ラインセス費用を抑え、業務生産性向上を考慮し、上記の背景を踏まえて、弊社の技術力は下記のシステム構成で貴社の業務要件を応えられるとの結論に至りました。</a:t>
            </a:r>
            <a:endParaRPr lang="en-US" altLang="ja-JP" sz="1600" dirty="0">
              <a:latin typeface="Yu Gothic UI" panose="020B0500000000000000" pitchFamily="50" charset="-128"/>
              <a:ea typeface="Yu Gothic UI" panose="020B0500000000000000" pitchFamily="50" charset="-128"/>
            </a:endParaRPr>
          </a:p>
          <a:p>
            <a:pPr lvl="1">
              <a:lnSpc>
                <a:spcPct val="150000"/>
              </a:lnSpc>
            </a:pPr>
            <a:r>
              <a:rPr lang="ja-JP" altLang="en-US" sz="1600" dirty="0">
                <a:latin typeface="Yu Gothic UI" panose="020B0500000000000000" pitchFamily="50" charset="-128"/>
                <a:ea typeface="Yu Gothic UI" panose="020B0500000000000000" pitchFamily="50" charset="-128"/>
              </a:rPr>
              <a:t>弊社の提案</a:t>
            </a:r>
            <a:endParaRPr lang="en-US" altLang="ja-JP" sz="1600" dirty="0">
              <a:latin typeface="Yu Gothic UI" panose="020B0500000000000000" pitchFamily="50" charset="-128"/>
              <a:ea typeface="Yu Gothic UI" panose="020B0500000000000000" pitchFamily="50" charset="-128"/>
            </a:endParaRPr>
          </a:p>
          <a:p>
            <a:pPr lvl="1">
              <a:lnSpc>
                <a:spcPct val="150000"/>
              </a:lnSpc>
            </a:pPr>
            <a:r>
              <a:rPr lang="en-US" altLang="ja-JP" sz="1600" dirty="0">
                <a:latin typeface="Yu Gothic UI" panose="020B0500000000000000" pitchFamily="50" charset="-128"/>
                <a:ea typeface="Yu Gothic UI" panose="020B0500000000000000" pitchFamily="50" charset="-128"/>
              </a:rPr>
              <a:t>	PowerPlatform+Office365+SqlServer</a:t>
            </a:r>
          </a:p>
          <a:p>
            <a:pPr lvl="1">
              <a:lnSpc>
                <a:spcPct val="150000"/>
              </a:lnSpc>
            </a:pPr>
            <a:r>
              <a:rPr lang="ja-JP" altLang="en-US" sz="1600" dirty="0">
                <a:latin typeface="Yu Gothic UI" panose="020B0500000000000000" pitchFamily="50" charset="-128"/>
                <a:ea typeface="Yu Gothic UI" panose="020B0500000000000000" pitchFamily="50" charset="-128"/>
              </a:rPr>
              <a:t>で文書を管理する業務アプリケーションの再構築します。</a:t>
            </a:r>
            <a:endParaRPr lang="en-US" altLang="ja-JP" sz="1600" dirty="0">
              <a:latin typeface="Yu Gothic UI" panose="020B0500000000000000" pitchFamily="50" charset="-128"/>
              <a:ea typeface="Yu Gothic UI" panose="020B0500000000000000" pitchFamily="50" charset="-128"/>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システム概要</a:t>
            </a:r>
            <a:endParaRPr lang="ja-JP" altLang="en-US" dirty="0">
              <a:effectLst/>
            </a:endParaRPr>
          </a:p>
        </p:txBody>
      </p:sp>
      <p:sp>
        <p:nvSpPr>
          <p:cNvPr id="15" name="テキスト ボックス 14"/>
          <p:cNvSpPr txBox="1"/>
          <p:nvPr/>
        </p:nvSpPr>
        <p:spPr>
          <a:xfrm>
            <a:off x="414337" y="782995"/>
            <a:ext cx="11386504"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dirty="0">
                <a:latin typeface="Yu Gothic UI" panose="020B0500000000000000" pitchFamily="50" charset="-128"/>
                <a:ea typeface="Yu Gothic UI" panose="020B0500000000000000" pitchFamily="50" charset="-128"/>
              </a:rPr>
              <a:t>システム構成</a:t>
            </a:r>
            <a:r>
              <a:rPr lang="en-US" altLang="ja-JP" sz="14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PowerApps</a:t>
            </a:r>
            <a:r>
              <a:rPr lang="ja-JP" altLang="en-US" sz="1400" dirty="0">
                <a:latin typeface="Yu Gothic UI" panose="020B0500000000000000" pitchFamily="50" charset="-128"/>
                <a:ea typeface="Yu Gothic UI" panose="020B0500000000000000" pitchFamily="50" charset="-128"/>
              </a:rPr>
              <a:t>、</a:t>
            </a:r>
            <a:r>
              <a:rPr lang="en-US" altLang="ja-JP" sz="1400" dirty="0">
                <a:latin typeface="Yu Gothic UI" panose="020B0500000000000000" pitchFamily="50" charset="-128"/>
                <a:ea typeface="Yu Gothic UI" panose="020B0500000000000000" pitchFamily="50" charset="-128"/>
              </a:rPr>
              <a:t>Office365</a:t>
            </a:r>
            <a:r>
              <a:rPr lang="ja-JP" altLang="en-US" sz="1400" dirty="0">
                <a:latin typeface="Yu Gothic UI" panose="020B0500000000000000" pitchFamily="50" charset="-128"/>
                <a:ea typeface="Yu Gothic UI" panose="020B0500000000000000" pitchFamily="50" charset="-128"/>
              </a:rPr>
              <a:t>と</a:t>
            </a:r>
            <a:r>
              <a:rPr lang="en-US" altLang="ja-JP" sz="1400" dirty="0">
                <a:latin typeface="Yu Gothic UI" panose="020B0500000000000000" pitchFamily="50" charset="-128"/>
                <a:ea typeface="Yu Gothic UI" panose="020B0500000000000000" pitchFamily="50" charset="-128"/>
              </a:rPr>
              <a:t>SQL Server</a:t>
            </a:r>
            <a:r>
              <a:rPr lang="ja-JP" altLang="en-US" sz="1400" dirty="0">
                <a:latin typeface="Yu Gothic UI" panose="020B0500000000000000" pitchFamily="50" charset="-128"/>
                <a:ea typeface="Yu Gothic UI" panose="020B0500000000000000" pitchFamily="50" charset="-128"/>
              </a:rPr>
              <a:t>を利用してシステム構築し、パフォーマンスを配慮した上に、添付ファイル管理、オンライン編集、一括ダウンロード、検索機能を実現。</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フロントエンド</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Apps Canvas App</a:t>
            </a:r>
            <a:r>
              <a:rPr lang="ja-JP" altLang="en-US" sz="1200" dirty="0">
                <a:latin typeface="Yu Gothic UI" panose="020B0500000000000000" pitchFamily="50" charset="-128"/>
                <a:ea typeface="Yu Gothic UI" panose="020B0500000000000000" pitchFamily="50" charset="-128"/>
              </a:rPr>
              <a:t>で構築。</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ユーザーインターフェースとして、文書の作成</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閲覧</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編集画面を提供。</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データベース</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SQL Server</a:t>
            </a:r>
            <a:r>
              <a:rPr lang="ja-JP" altLang="en-US" sz="1200" dirty="0">
                <a:latin typeface="Yu Gothic UI" panose="020B0500000000000000" pitchFamily="50" charset="-128"/>
                <a:ea typeface="Yu Gothic UI" panose="020B0500000000000000" pitchFamily="50" charset="-128"/>
              </a:rPr>
              <a:t>をメインのデータストレージとして使用し、文書のメタデータ（文書</a:t>
            </a: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日付、ステータスなど）を格納し、</a:t>
            </a:r>
            <a:r>
              <a:rPr lang="en-US" altLang="ja-JP" sz="1200" dirty="0">
                <a:latin typeface="Yu Gothic UI" panose="020B0500000000000000" pitchFamily="50" charset="-128"/>
                <a:ea typeface="Yu Gothic UI" panose="020B0500000000000000" pitchFamily="50" charset="-128"/>
              </a:rPr>
              <a:t>Dataverse</a:t>
            </a:r>
            <a:r>
              <a:rPr lang="ja-JP" altLang="en-US" sz="1200" dirty="0">
                <a:latin typeface="Yu Gothic UI" panose="020B0500000000000000" pitchFamily="50" charset="-128"/>
                <a:ea typeface="Yu Gothic UI" panose="020B0500000000000000" pitchFamily="50" charset="-128"/>
              </a:rPr>
              <a:t>と連携し、</a:t>
            </a:r>
            <a:r>
              <a:rPr lang="en-US" altLang="ja-JP" sz="1200" dirty="0">
                <a:latin typeface="Yu Gothic UI" panose="020B0500000000000000" pitchFamily="50" charset="-128"/>
                <a:ea typeface="Yu Gothic UI" panose="020B0500000000000000" pitchFamily="50" charset="-128"/>
              </a:rPr>
              <a:t>PowerApps</a:t>
            </a:r>
            <a:r>
              <a:rPr lang="ja-JP" altLang="en-US" sz="1200" dirty="0">
                <a:latin typeface="Yu Gothic UI" panose="020B0500000000000000" pitchFamily="50" charset="-128"/>
                <a:ea typeface="Yu Gothic UI" panose="020B0500000000000000" pitchFamily="50" charset="-128"/>
              </a:rPr>
              <a:t>からのアクセス可能に。</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ファイルストレージとしては、</a:t>
            </a:r>
            <a:r>
              <a:rPr lang="en-US" altLang="ja-JP" sz="1200" dirty="0">
                <a:latin typeface="Yu Gothic UI" panose="020B0500000000000000" pitchFamily="50" charset="-128"/>
                <a:ea typeface="Yu Gothic UI" panose="020B0500000000000000" pitchFamily="50" charset="-128"/>
              </a:rPr>
              <a:t>SharePoint</a:t>
            </a:r>
            <a:r>
              <a:rPr lang="ja-JP" altLang="en-US" sz="1200" dirty="0">
                <a:latin typeface="Yu Gothic UI" panose="020B0500000000000000" pitchFamily="50" charset="-128"/>
                <a:ea typeface="Yu Gothic UI" panose="020B0500000000000000" pitchFamily="50" charset="-128"/>
              </a:rPr>
              <a:t>を使用し、</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添付ファイル（</a:t>
            </a:r>
            <a:r>
              <a:rPr lang="en-US" altLang="ja-JP" sz="1200" dirty="0">
                <a:latin typeface="Yu Gothic UI" panose="020B0500000000000000" pitchFamily="50" charset="-128"/>
                <a:ea typeface="Yu Gothic UI" panose="020B0500000000000000" pitchFamily="50" charset="-128"/>
              </a:rPr>
              <a:t>Office</a:t>
            </a:r>
            <a:r>
              <a:rPr lang="ja-JP" altLang="en-US" sz="1200" dirty="0">
                <a:latin typeface="Yu Gothic UI" panose="020B0500000000000000" pitchFamily="50" charset="-128"/>
                <a:ea typeface="Yu Gothic UI" panose="020B0500000000000000" pitchFamily="50" charset="-128"/>
              </a:rPr>
              <a:t>ファイル、</a:t>
            </a:r>
            <a:r>
              <a:rPr lang="en-US" altLang="ja-JP" sz="1200" dirty="0">
                <a:latin typeface="Yu Gothic UI" panose="020B0500000000000000" pitchFamily="50" charset="-128"/>
                <a:ea typeface="Yu Gothic UI" panose="020B0500000000000000" pitchFamily="50" charset="-128"/>
              </a:rPr>
              <a:t>PDF</a:t>
            </a:r>
            <a:r>
              <a:rPr lang="ja-JP" altLang="en-US" sz="1200" dirty="0">
                <a:latin typeface="Yu Gothic UI" panose="020B0500000000000000" pitchFamily="50" charset="-128"/>
                <a:ea typeface="Yu Gothic UI" panose="020B0500000000000000" pitchFamily="50" charset="-128"/>
              </a:rPr>
              <a:t>）を保存。</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ワークフロー</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utomate</a:t>
            </a:r>
            <a:r>
              <a:rPr lang="ja-JP" altLang="en-US" sz="1200" dirty="0">
                <a:latin typeface="Yu Gothic UI" panose="020B0500000000000000" pitchFamily="50" charset="-128"/>
                <a:ea typeface="Yu Gothic UI" panose="020B0500000000000000" pitchFamily="50" charset="-128"/>
              </a:rPr>
              <a:t>で実現（例</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ファイル編集後の同期、文書の承認プロセス）。</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セキュリティ</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Microsoft Entra ID</a:t>
            </a:r>
            <a:r>
              <a:rPr lang="ja-JP" altLang="en-US" sz="1200" dirty="0">
                <a:latin typeface="Yu Gothic UI" panose="020B0500000000000000" pitchFamily="50" charset="-128"/>
                <a:ea typeface="Yu Gothic UI" panose="020B0500000000000000" pitchFamily="50" charset="-128"/>
              </a:rPr>
              <a:t>（旧</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で認証。ロールベースアクセス制御（</a:t>
            </a:r>
            <a:r>
              <a:rPr lang="en-US" altLang="ja-JP" sz="1200" dirty="0">
                <a:latin typeface="Yu Gothic UI" panose="020B0500000000000000" pitchFamily="50" charset="-128"/>
                <a:ea typeface="Yu Gothic UI" panose="020B0500000000000000" pitchFamily="50" charset="-128"/>
              </a:rPr>
              <a:t>RBAC</a:t>
            </a:r>
            <a:r>
              <a:rPr lang="ja-JP" altLang="en-US" sz="1200" dirty="0">
                <a:latin typeface="Yu Gothic UI" panose="020B0500000000000000" pitchFamily="50" charset="-128"/>
                <a:ea typeface="Yu Gothic UI" panose="020B0500000000000000" pitchFamily="50" charset="-128"/>
              </a:rPr>
              <a:t>）を適用。</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機能要件</a:t>
            </a:r>
            <a:r>
              <a:rPr lang="en-US" altLang="ja-JP" sz="14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編集</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承認プロセス（</a:t>
            </a:r>
            <a:r>
              <a:rPr lang="en-US" altLang="ja-JP" sz="1200" dirty="0">
                <a:latin typeface="Yu Gothic UI" panose="020B0500000000000000" pitchFamily="50" charset="-128"/>
                <a:ea typeface="Yu Gothic UI" panose="020B0500000000000000" pitchFamily="50" charset="-128"/>
              </a:rPr>
              <a:t>Workflow</a:t>
            </a:r>
            <a:r>
              <a:rPr lang="ja-JP" altLang="en-US" sz="1200" dirty="0">
                <a:latin typeface="Yu Gothic UI" panose="020B0500000000000000" pitchFamily="50" charset="-128"/>
                <a:ea typeface="Yu Gothic UI" panose="020B0500000000000000" pitchFamily="50" charset="-128"/>
              </a:rPr>
              <a:t>）制御</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複数ファイルをユーザローカルへ指定場所にダウンロード</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内容に指定キーワードで検索</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その他システム要件：</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利用ユーザー数（</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リクエスト件数・・・約</a:t>
            </a:r>
            <a:r>
              <a:rPr lang="en-US" altLang="ja-JP" sz="1200" dirty="0">
                <a:latin typeface="Yu Gothic UI" panose="020B0500000000000000" pitchFamily="50" charset="-128"/>
                <a:ea typeface="Yu Gothic UI" panose="020B0500000000000000" pitchFamily="50" charset="-128"/>
              </a:rPr>
              <a:t>2,00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バッチ処理件数・・・約</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データ容量・・・約</a:t>
            </a:r>
            <a:r>
              <a:rPr lang="en-US" altLang="ja-JP" sz="1200" dirty="0">
                <a:latin typeface="Yu Gothic UI" panose="020B0500000000000000" pitchFamily="50" charset="-128"/>
                <a:ea typeface="Yu Gothic UI" panose="020B0500000000000000" pitchFamily="50" charset="-128"/>
              </a:rPr>
              <a:t>650 GB</a:t>
            </a: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現行</a:t>
            </a:r>
            <a:r>
              <a:rPr lang="en-US" altLang="ja-JP" sz="1200" dirty="0" err="1">
                <a:latin typeface="Yu Gothic UI" panose="020B0500000000000000" pitchFamily="50" charset="-128"/>
                <a:ea typeface="Yu Gothic UI" panose="020B0500000000000000" pitchFamily="50" charset="-128"/>
              </a:rPr>
              <a:t>NotesDB</a:t>
            </a:r>
            <a:r>
              <a:rPr lang="ja-JP" altLang="en-US" sz="1200" dirty="0">
                <a:latin typeface="Yu Gothic UI" panose="020B0500000000000000" pitchFamily="50" charset="-128"/>
                <a:ea typeface="Yu Gothic UI" panose="020B0500000000000000" pitchFamily="50" charset="-128"/>
              </a:rPr>
              <a:t>ベースの２倍を想定。添付ファイル含む</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秒～</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秒</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直接編集機能・・・現時点では、</a:t>
            </a:r>
            <a:r>
              <a:rPr lang="en-US" altLang="ja-JP" sz="1200" dirty="0">
                <a:latin typeface="Yu Gothic UI" panose="020B0500000000000000" pitchFamily="50" charset="-128"/>
                <a:ea typeface="Yu Gothic UI" panose="020B0500000000000000" pitchFamily="50" charset="-128"/>
              </a:rPr>
              <a:t>GCJ</a:t>
            </a:r>
            <a:r>
              <a:rPr lang="ja-JP" altLang="en-US" sz="12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パターンを想定</a:t>
            </a:r>
            <a:endParaRPr lang="en-US" altLang="ja-JP" sz="1200" dirty="0">
              <a:latin typeface="Yu Gothic UI" panose="020B0500000000000000" pitchFamily="50" charset="-128"/>
              <a:ea typeface="Yu Gothic UI" panose="020B0500000000000000" pitchFamily="50" charset="-128"/>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297922" y="3589046"/>
            <a:ext cx="6211241"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dirty="0"/>
              <a:t>全体アーキテクチャ</a:t>
            </a:r>
            <a:br>
              <a:rPr lang="en-US" altLang="ja-JP" dirty="0"/>
            </a:br>
            <a:r>
              <a:rPr lang="ja-JP" altLang="en-US" sz="2200" dirty="0"/>
              <a:t>添付ファイルは</a:t>
            </a:r>
            <a:r>
              <a:rPr lang="en-US" altLang="ja-JP" sz="2200" dirty="0"/>
              <a:t>SharePoint</a:t>
            </a:r>
            <a:r>
              <a:rPr lang="ja-JP" altLang="en-US" sz="2200" dirty="0"/>
              <a:t>保存</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607496"/>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80115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a:t>社員、組織、役職リスト</a:t>
            </a:r>
            <a:endParaRPr kumimoji="1" lang="en-US" altLang="ja-JP" sz="1050"/>
          </a:p>
          <a:p>
            <a:r>
              <a:rPr kumimoji="1" lang="ja-JP" altLang="en-US" sz="105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746455" y="1454132"/>
            <a:ext cx="861176" cy="6943152"/>
          </a:xfrm>
          <a:prstGeom prst="bentConnector3">
            <a:avLst>
              <a:gd name="adj1" fmla="val -26545"/>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a:cxnSpLocks/>
          </p:cNvCxnSpPr>
          <p:nvPr/>
        </p:nvCxnSpPr>
        <p:spPr>
          <a:xfrm>
            <a:off x="8496124" y="801768"/>
            <a:ext cx="0" cy="5720952"/>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727098"/>
          </a:xfrm>
          <a:prstGeom prst="bentConnector3">
            <a:avLst>
              <a:gd name="adj1" fmla="val 50000"/>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292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324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227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lIns="91440" tIns="45720" rIns="91440" bIns="45720" rtlCol="0" anchor="t">
            <a:spAutoFit/>
          </a:bodyPr>
          <a:lstStyle/>
          <a:p>
            <a:r>
              <a:rPr kumimoji="1" lang="en-US" altLang="ja-JP" dirty="0">
                <a:ln w="0"/>
                <a:solidFill>
                  <a:schemeClr val="accent1"/>
                </a:solidFill>
                <a:effectLst>
                  <a:outerShdw blurRad="38100" dist="25400" dir="5400000" algn="ctr" rotWithShape="0">
                    <a:srgbClr val="6E747A">
                      <a:alpha val="43000"/>
                    </a:srgbClr>
                  </a:outerShdw>
                </a:effectLst>
                <a:ea typeface="游ゴシック"/>
              </a:rPr>
              <a:t>MCC</a:t>
            </a:r>
            <a:r>
              <a:rPr kumimoji="1" lang="ja-JP" altLang="en-US">
                <a:ln w="0"/>
                <a:solidFill>
                  <a:schemeClr val="accent1"/>
                </a:solidFill>
                <a:effectLst>
                  <a:outerShdw blurRad="38100" dist="25400" dir="5400000" algn="ctr" rotWithShape="0">
                    <a:srgbClr val="6E747A">
                      <a:alpha val="43000"/>
                    </a:srgbClr>
                  </a:outerShdw>
                </a:effectLst>
                <a:ea typeface="游ゴシック"/>
              </a:rPr>
              <a:t>様</a:t>
            </a:r>
            <a:r>
              <a:rPr kumimoji="1" lang="en-US" altLang="ja-JP" dirty="0">
                <a:ln w="0"/>
                <a:solidFill>
                  <a:schemeClr val="accent1"/>
                </a:solidFill>
                <a:effectLst>
                  <a:outerShdw blurRad="38100" dist="25400" dir="5400000" algn="ctr" rotWithShape="0">
                    <a:srgbClr val="6E747A">
                      <a:alpha val="43000"/>
                    </a:srgbClr>
                  </a:outerShdw>
                </a:effectLst>
                <a:ea typeface="游ゴシック"/>
              </a:rPr>
              <a:t> </a:t>
            </a:r>
            <a:r>
              <a:rPr kumimoji="1" lang="ja-JP" altLang="en-US">
                <a:ln w="0"/>
                <a:solidFill>
                  <a:schemeClr val="accent1"/>
                </a:solidFill>
                <a:effectLst>
                  <a:outerShdw blurRad="38100" dist="25400" dir="5400000" algn="ctr" rotWithShape="0">
                    <a:srgbClr val="6E747A">
                      <a:alpha val="43000"/>
                    </a:srgbClr>
                  </a:outerShdw>
                </a:effectLst>
                <a:ea typeface="游ゴシック"/>
              </a:rPr>
              <a:t>環境</a:t>
            </a:r>
            <a:r>
              <a:rPr lang="ja-JP" altLang="en-US">
                <a:ln w="0"/>
                <a:solidFill>
                  <a:schemeClr val="accent1"/>
                </a:solidFill>
                <a:effectLst>
                  <a:outerShdw blurRad="38100" dist="25400" dir="5400000" algn="ctr" rotWithShape="0">
                    <a:srgbClr val="6E747A">
                      <a:alpha val="43000"/>
                    </a:srgbClr>
                  </a:outerShdw>
                </a:effectLst>
                <a:ea typeface="游ゴシック"/>
              </a:rPr>
              <a:t>（AWS含む）</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250204" y="538376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0567"/>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0514"/>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0025"/>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0248"/>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論理</a:t>
            </a:r>
            <a:r>
              <a:rPr lang="en-US" altLang="ja-JP">
                <a:solidFill>
                  <a:srgbClr val="0070C0"/>
                </a:solidFill>
              </a:rPr>
              <a:t>Flow</a:t>
            </a:r>
            <a:r>
              <a:rPr lang="ja-JP" altLang="en-US">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文書管理機能</a:t>
            </a:r>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で</a:t>
            </a:r>
            <a:r>
              <a:rPr lang="ja-JP" altLang="en-US"/>
              <a:t>文書</a:t>
            </a:r>
            <a:r>
              <a:rPr kumimoji="1" lang="ja-JP" altLang="en-US">
                <a:latin typeface="Yu Gothic UI" panose="020B0500000000000000" pitchFamily="50" charset="-128"/>
                <a:ea typeface="Yu Gothic UI" panose="020B0500000000000000" pitchFamily="50" charset="-128"/>
              </a:rPr>
              <a:t>フォームを</a:t>
            </a:r>
            <a:r>
              <a:rPr kumimoji="1" lang="zh-CN" altLang="en-US">
                <a:latin typeface="Yu Gothic UI" panose="020B0500000000000000" pitchFamily="50" charset="-128"/>
                <a:ea typeface="Yu Gothic UI" panose="020B0500000000000000" pitchFamily="50" charset="-128"/>
              </a:rPr>
              <a:t>作成。</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SQL Server</a:t>
            </a:r>
            <a:r>
              <a:rPr kumimoji="1" lang="ja-JP" altLang="en-US">
                <a:latin typeface="Yu Gothic UI" panose="020B0500000000000000" pitchFamily="50" charset="-128"/>
                <a:ea typeface="Yu Gothic UI" panose="020B0500000000000000" pitchFamily="50" charset="-128"/>
              </a:rPr>
              <a:t>のテーブル（</a:t>
            </a:r>
            <a:r>
              <a:rPr kumimoji="1" lang="zh-CN" altLang="en-US">
                <a:latin typeface="Yu Gothic UI" panose="020B0500000000000000" pitchFamily="50" charset="-128"/>
                <a:ea typeface="Yu Gothic UI" panose="020B0500000000000000" pitchFamily="50" charset="-128"/>
              </a:rPr>
              <a:t>例</a:t>
            </a:r>
            <a:r>
              <a:rPr kumimoji="1" lang="en-US" altLang="zh-CN">
                <a:latin typeface="Yu Gothic UI" panose="020B0500000000000000" pitchFamily="50" charset="-128"/>
                <a:ea typeface="Yu Gothic UI" panose="020B0500000000000000" pitchFamily="50" charset="-128"/>
              </a:rPr>
              <a:t>: </a:t>
            </a:r>
            <a:r>
              <a:rPr kumimoji="1" lang="en-US" altLang="zh-CN" dirty="0" err="1">
                <a:latin typeface="Yu Gothic UI" panose="020B0500000000000000" pitchFamily="50" charset="-128"/>
                <a:ea typeface="Yu Gothic UI" panose="020B0500000000000000" pitchFamily="50" charset="-128"/>
              </a:rPr>
              <a:t>Document</a:t>
            </a:r>
            <a:r>
              <a:rPr kumimoji="1" lang="en-US" altLang="ja-JP" dirty="0" err="1">
                <a:latin typeface="Yu Gothic UI" panose="020B0500000000000000" pitchFamily="50" charset="-128"/>
                <a:ea typeface="Yu Gothic UI" panose="020B0500000000000000" pitchFamily="50" charset="-128"/>
              </a:rPr>
              <a:t>Table</a:t>
            </a:r>
            <a:r>
              <a:rPr kumimoji="1" lang="en-US" altLang="ja-JP">
                <a:latin typeface="Yu Gothic UI" panose="020B0500000000000000" pitchFamily="50" charset="-128"/>
                <a:ea typeface="Yu Gothic UI" panose="020B0500000000000000" pitchFamily="50" charset="-128"/>
              </a:rPr>
              <a:t>: ID, Date, Status</a:t>
            </a:r>
            <a:r>
              <a:rPr kumimoji="1" lang="ja-JP" altLang="en-US">
                <a:latin typeface="Yu Gothic UI" panose="020B0500000000000000" pitchFamily="50" charset="-128"/>
                <a:ea typeface="Yu Gothic UI" panose="020B0500000000000000" pitchFamily="50" charset="-128"/>
              </a:rPr>
              <a:t>）と</a:t>
            </a:r>
            <a:r>
              <a:rPr kumimoji="1" lang="zh-CN" altLang="en-US">
                <a:latin typeface="Yu Gothic UI" panose="020B0500000000000000" pitchFamily="50" charset="-128"/>
                <a:ea typeface="Yu Gothic UI" panose="020B0500000000000000" pitchFamily="50" charset="-128"/>
              </a:rPr>
              <a:t>連携。</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文書の</a:t>
            </a:r>
            <a:r>
              <a:rPr kumimoji="1" lang="en-US" altLang="ja-JP">
                <a:latin typeface="Yu Gothic UI" panose="020B0500000000000000" pitchFamily="50" charset="-128"/>
                <a:ea typeface="Yu Gothic UI" panose="020B0500000000000000" pitchFamily="50" charset="-128"/>
              </a:rPr>
              <a:t>CRUD</a:t>
            </a:r>
            <a:r>
              <a:rPr kumimoji="1" lang="zh-CN" altLang="en-US">
                <a:latin typeface="Yu Gothic UI" panose="020B0500000000000000" pitchFamily="50" charset="-128"/>
                <a:ea typeface="Yu Gothic UI" panose="020B0500000000000000" pitchFamily="50" charset="-128"/>
              </a:rPr>
              <a:t>操作（</a:t>
            </a:r>
            <a:r>
              <a:rPr kumimoji="1" lang="en-US" altLang="ja-JP">
                <a:latin typeface="Yu Gothic UI" panose="020B0500000000000000" pitchFamily="50" charset="-128"/>
                <a:ea typeface="Yu Gothic UI" panose="020B0500000000000000" pitchFamily="50" charset="-128"/>
              </a:rPr>
              <a:t>Create, Read, Update, Delete</a:t>
            </a:r>
            <a:r>
              <a:rPr kumimoji="1" lang="ja-JP" altLang="en-US">
                <a:latin typeface="Yu Gothic UI" panose="020B0500000000000000" pitchFamily="50" charset="-128"/>
                <a:ea typeface="Yu Gothic UI" panose="020B0500000000000000" pitchFamily="50" charset="-128"/>
              </a:rPr>
              <a:t>）をサポート。</a:t>
            </a:r>
            <a:endParaRPr kumimoji="1"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のデータソースとして</a:t>
            </a:r>
            <a:r>
              <a:rPr kumimoji="1" lang="en-US" altLang="ja-JP">
                <a:latin typeface="Yu Gothic UI" panose="020B0500000000000000" pitchFamily="50" charset="-128"/>
                <a:ea typeface="Yu Gothic UI" panose="020B0500000000000000" pitchFamily="50" charset="-128"/>
              </a:rPr>
              <a:t>SQL Server Connector</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使用。複数</a:t>
            </a:r>
            <a:r>
              <a:rPr kumimoji="1" lang="ja-JP" altLang="en-US">
                <a:latin typeface="Yu Gothic UI" panose="020B0500000000000000" pitchFamily="50" charset="-128"/>
                <a:ea typeface="Yu Gothic UI" panose="020B0500000000000000" pitchFamily="50" charset="-128"/>
              </a:rPr>
              <a:t>文書のバッチ</a:t>
            </a:r>
            <a:r>
              <a:rPr kumimoji="1" lang="zh-CN" altLang="en-US">
                <a:latin typeface="Yu Gothic UI" panose="020B0500000000000000" pitchFamily="50" charset="-128"/>
                <a:ea typeface="Yu Gothic UI" panose="020B0500000000000000" pitchFamily="50" charset="-128"/>
              </a:rPr>
              <a:t>処理</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考慮</a:t>
            </a:r>
            <a:r>
              <a:rPr kumimoji="1" lang="ja-JP" altLang="en-US">
                <a:latin typeface="Yu Gothic UI" panose="020B0500000000000000" pitchFamily="50" charset="-128"/>
                <a:ea typeface="Yu Gothic UI" panose="020B0500000000000000" pitchFamily="50" charset="-128"/>
              </a:rPr>
              <a:t>し、</a:t>
            </a:r>
            <a:r>
              <a:rPr kumimoji="1" lang="en-US" altLang="ja-JP">
                <a:latin typeface="Yu Gothic UI" panose="020B0500000000000000" pitchFamily="50" charset="-128"/>
                <a:ea typeface="Yu Gothic UI" panose="020B0500000000000000" pitchFamily="50" charset="-128"/>
              </a:rPr>
              <a:t>Gallery</a:t>
            </a:r>
            <a:r>
              <a:rPr kumimoji="1" lang="ja-JP" altLang="en-US">
                <a:latin typeface="Yu Gothic UI" panose="020B0500000000000000" pitchFamily="50" charset="-128"/>
                <a:ea typeface="Yu Gothic UI" panose="020B0500000000000000" pitchFamily="50" charset="-128"/>
              </a:rPr>
              <a:t>コントロールでリスト</a:t>
            </a:r>
            <a:r>
              <a:rPr kumimoji="1" lang="zh-CN" altLang="en-US">
                <a:latin typeface="Yu Gothic UI" panose="020B0500000000000000" pitchFamily="50" charset="-128"/>
                <a:ea typeface="Yu Gothic UI" panose="020B0500000000000000" pitchFamily="50" charset="-128"/>
              </a:rPr>
              <a:t>表示。</a:t>
            </a:r>
            <a:endParaRPr kumimoji="1" lang="en-US" altLang="zh-CN">
              <a:latin typeface="Yu Gothic UI" panose="020B0500000000000000" pitchFamily="50" charset="-128"/>
              <a:ea typeface="Yu Gothic UI" panose="020B0500000000000000" pitchFamily="50" charset="-128"/>
            </a:endParaRPr>
          </a:p>
          <a:p>
            <a:pPr algn="l"/>
            <a:r>
              <a:rPr kumimoji="1" lang="ja-JP" altLang="en-US">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a:latin typeface="Yu Gothic UI" panose="020B0500000000000000" pitchFamily="50" charset="-128"/>
              <a:ea typeface="Yu Gothic UI" panose="020B0500000000000000" pitchFamily="50" charset="-128"/>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添付ファイル管理</a:t>
            </a:r>
            <a:endParaRPr lang="ja-JP" altLang="en-US" dirty="0">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などを考慮し、推奨しません）</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600" dirty="0">
                <a:solidFill>
                  <a:srgbClr val="00B050"/>
                </a:solidFill>
                <a:latin typeface="Yu Gothic UI" panose="020B0500000000000000" pitchFamily="50" charset="-128"/>
                <a:ea typeface="Yu Gothic UI" panose="020B0500000000000000" pitchFamily="50" charset="-128"/>
              </a:rPr>
              <a:t>SharePoint</a:t>
            </a:r>
            <a:r>
              <a:rPr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lang="en-US" altLang="zh-CN" sz="1600" dirty="0" err="1">
                <a:solidFill>
                  <a:srgbClr val="00B050"/>
                </a:solidFill>
                <a:latin typeface="Yu Gothic UI" panose="020B0500000000000000" pitchFamily="50" charset="-128"/>
                <a:ea typeface="Yu Gothic UI" panose="020B0500000000000000" pitchFamily="50" charset="-128"/>
              </a:rPr>
              <a:t>Sql</a:t>
            </a:r>
            <a:r>
              <a:rPr lang="en-US" altLang="zh-CN" sz="1600" dirty="0">
                <a:solidFill>
                  <a:srgbClr val="00B050"/>
                </a:solidFill>
                <a:latin typeface="Yu Gothic UI" panose="020B0500000000000000" pitchFamily="50" charset="-128"/>
                <a:ea typeface="Yu Gothic UI" panose="020B0500000000000000" pitchFamily="50" charset="-128"/>
              </a:rPr>
              <a:t> Server 2022</a:t>
            </a:r>
            <a:r>
              <a:rPr lang="ja-JP" altLang="en-US" sz="1600" dirty="0">
                <a:solidFill>
                  <a:srgbClr val="00B050"/>
                </a:solidFill>
                <a:latin typeface="Yu Gothic UI" panose="020B0500000000000000" pitchFamily="50" charset="-128"/>
                <a:ea typeface="Yu Gothic UI" panose="020B0500000000000000" pitchFamily="50" charset="-128"/>
              </a:rPr>
              <a:t>はメタデータ管理に使用。</a:t>
            </a:r>
            <a:endParaRPr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Dataverse</a:t>
            </a:r>
            <a:r>
              <a:rPr lang="ja-JP" altLang="en-US" sz="1400" b="1" u="sng">
                <a:solidFill>
                  <a:srgbClr val="0070C0"/>
                </a:solidFill>
              </a:rPr>
              <a:t>に保存の場合</a:t>
            </a:r>
            <a:endParaRPr kumimoji="1" lang="ja-JP" altLang="en-US" sz="1400" b="1" u="sng">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SPO</a:t>
            </a:r>
            <a:r>
              <a:rPr lang="ja-JP" altLang="en-US" sz="1400" b="1" u="sng">
                <a:solidFill>
                  <a:srgbClr val="0070C0"/>
                </a:solidFill>
              </a:rPr>
              <a:t>に保存の場合（お薦め）</a:t>
            </a:r>
            <a:endParaRPr kumimoji="1" lang="ja-JP" altLang="en-US" sz="1400" b="1" u="sng">
              <a:solidFill>
                <a:srgbClr val="0070C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オンライン編集機能</a:t>
            </a:r>
            <a:endParaRPr lang="ja-JP" altLang="en-US" dirty="0">
              <a:effectLst/>
            </a:endParaRPr>
          </a:p>
        </p:txBody>
      </p:sp>
      <p:sp>
        <p:nvSpPr>
          <p:cNvPr id="15" name="テキスト ボックス 14"/>
          <p:cNvSpPr txBox="1"/>
          <p:nvPr/>
        </p:nvSpPr>
        <p:spPr>
          <a:xfrm>
            <a:off x="414337" y="872591"/>
            <a:ext cx="11363328"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a:t>
            </a:r>
            <a:r>
              <a:rPr lang="zh-CN" altLang="zh-CN" sz="1600" dirty="0">
                <a:hlinkClick r:id="rId4"/>
              </a:rPr>
              <a:t>https://office.com/edit?url=[file_url</a:t>
            </a:r>
            <a:r>
              <a:rPr lang="zh-CN" altLang="zh-CN" sz="1600" dirty="0"/>
              <a:t>]）</a:t>
            </a:r>
            <a:endParaRPr lang="en-US" altLang="zh-CN" sz="1600" dirty="0"/>
          </a:p>
          <a:p>
            <a:pPr marL="742950" lvl="1" indent="-285750" eaLnBrk="0" fontAlgn="base" hangingPunct="0">
              <a:spcBef>
                <a:spcPct val="0"/>
              </a:spcBef>
              <a:spcAft>
                <a:spcPct val="0"/>
              </a:spcAft>
              <a:buFont typeface="Arial" panose="020B0604020202020204" pitchFamily="34" charset="0"/>
              <a:buChar char="•"/>
            </a:pPr>
            <a:r>
              <a:rPr lang="ja-JP" altLang="en-US" sz="1600" dirty="0"/>
              <a:t>競合編集の問題はありません。</a:t>
            </a:r>
            <a:endParaRPr lang="en-US" altLang="zh-CN" sz="1600" dirty="0"/>
          </a:p>
          <a:p>
            <a:pPr marL="285750"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SharePoint</a:t>
            </a:r>
            <a:r>
              <a:rPr kumimoji="0" lang="zh-CN" altLang="zh-CN" dirty="0">
                <a:latin typeface="Arial" panose="020B0604020202020204" pitchFamily="34" charset="0"/>
              </a:rPr>
              <a:t>ストレージの</a:t>
            </a:r>
            <a:r>
              <a:rPr kumimoji="0" lang="ja-JP" altLang="en-US" dirty="0">
                <a:latin typeface="Arial" panose="020B0604020202020204" pitchFamily="34" charset="0"/>
              </a:rPr>
              <a:t>場合、オンライン編集とユーザにより</a:t>
            </a:r>
            <a:r>
              <a:rPr kumimoji="0" lang="en-US" altLang="ja-JP" dirty="0">
                <a:latin typeface="Arial" panose="020B0604020202020204" pitchFamily="34" charset="0"/>
              </a:rPr>
              <a:t>Download/Upload</a:t>
            </a:r>
            <a:r>
              <a:rPr kumimoji="0" lang="ja-JP" altLang="en-US" dirty="0">
                <a:latin typeface="Arial" panose="020B0604020202020204" pitchFamily="34" charset="0"/>
              </a:rPr>
              <a:t>の差異もありません。</a:t>
            </a:r>
            <a:endParaRPr kumimoji="0" lang="zh-CN" altLang="zh-CN" dirty="0">
              <a:latin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16C17B-9ACF-4273-9EF4-F7A543FAF213}">
  <ds:schemaRefs/>
</ds:datastoreItem>
</file>

<file path=customXml/itemProps2.xml><?xml version="1.0" encoding="utf-8"?>
<ds:datastoreItem xmlns:ds="http://schemas.openxmlformats.org/officeDocument/2006/customXml" ds:itemID="{BCB922EE-95E3-497F-8326-C2ABF66A4B77}">
  <ds:schemaRefs/>
</ds:datastoreItem>
</file>

<file path=customXml/itemProps3.xml><?xml version="1.0" encoding="utf-8"?>
<ds:datastoreItem xmlns:ds="http://schemas.openxmlformats.org/officeDocument/2006/customXml" ds:itemID="{E31EB569-1790-46AF-B846-C3C8AF03910D}">
  <ds:schemaRefs>
    <ds:schemaRef ds:uri="http://purl.org/dc/elements/1.1/"/>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259acf4b-b80a-47bc-9c5c-11234d21311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CG_jp_rev1</Template>
  <TotalTime>51</TotalTime>
  <Words>10981</Words>
  <Application>Microsoft Office PowerPoint</Application>
  <PresentationFormat>ワイド画面</PresentationFormat>
  <Paragraphs>1290</Paragraphs>
  <Slides>28</Slides>
  <Notes>27</Notes>
  <HiddenSlides>0</HiddenSlides>
  <MMClips>0</MMClips>
  <ScaleCrop>false</ScaleCrop>
  <HeadingPairs>
    <vt:vector size="8" baseType="variant">
      <vt:variant>
        <vt:lpstr>使用されているフォント</vt:lpstr>
      </vt:variant>
      <vt:variant>
        <vt:i4>14</vt:i4>
      </vt:variant>
      <vt:variant>
        <vt:lpstr>テーマ</vt:lpstr>
      </vt:variant>
      <vt:variant>
        <vt:i4>6</vt:i4>
      </vt:variant>
      <vt:variant>
        <vt:lpstr>埋め込まれた OLE サーバー</vt:lpstr>
      </vt:variant>
      <vt:variant>
        <vt:i4>1</vt:i4>
      </vt:variant>
      <vt:variant>
        <vt:lpstr>スライド タイトル</vt:lpstr>
      </vt:variant>
      <vt:variant>
        <vt:i4>28</vt:i4>
      </vt:variant>
    </vt:vector>
  </HeadingPairs>
  <TitlesOfParts>
    <vt:vector size="49" baseType="lpstr">
      <vt:lpstr>Arial Unicode MS</vt:lpstr>
      <vt:lpstr>DengXian 本文</vt:lpstr>
      <vt:lpstr>Meiryo UI</vt:lpstr>
      <vt:lpstr>ＭＳ Ｐゴシック</vt:lpstr>
      <vt:lpstr>Yu Gothic UI</vt:lpstr>
      <vt:lpstr>游ゴシック</vt:lpstr>
      <vt:lpstr>游ゴシック 本文</vt:lpstr>
      <vt:lpstr>Arial</vt:lpstr>
      <vt:lpstr>Calibri</vt:lpstr>
      <vt:lpstr>Calibri Light</vt:lpstr>
      <vt:lpstr>Gill Sans MT</vt:lpstr>
      <vt:lpstr>Verdana</vt:lpstr>
      <vt:lpstr>Wingdings</vt:lpstr>
      <vt:lpstr>Wingdings 2</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製品仕様書管理） Power Apps + Sql server 提案と見積</vt:lpstr>
      <vt:lpstr>前書き</vt:lpstr>
      <vt:lpstr>目次</vt:lpstr>
      <vt:lpstr>提案の背景と目的</vt:lpstr>
      <vt:lpstr>システム概要</vt:lpstr>
      <vt:lpstr>全体アーキテクチャ 添付ファイルはSharePoint保存</vt:lpstr>
      <vt:lpstr>実現方法－文書管理機能</vt:lpstr>
      <vt:lpstr>実現方法－添付ファイル管理</vt:lpstr>
      <vt:lpstr>実現方法－オンライン編集機能</vt:lpstr>
      <vt:lpstr>実現方法－一括ダウンロード機能</vt:lpstr>
      <vt:lpstr>実現方法－検索機能１</vt:lpstr>
      <vt:lpstr>実現方法－ 検索機能２</vt:lpstr>
      <vt:lpstr>実現方法－パフォーマンス最適化と運用</vt:lpstr>
      <vt:lpstr>実現方法－権限管理</vt:lpstr>
      <vt:lpstr>実現方法－ユーザ別の属性管理（Option）</vt:lpstr>
      <vt:lpstr>データ移行</vt:lpstr>
      <vt:lpstr>機能一覧※ご提示頂いた「【新アプリ】機能要件一覧 V1.1.xlsx」の中項目単位で抽出</vt:lpstr>
      <vt:lpstr>機能一覧</vt:lpstr>
      <vt:lpstr>機能一覧</vt:lpstr>
      <vt:lpstr>機能一覧</vt:lpstr>
      <vt:lpstr>実装計画－リスク</vt:lpstr>
      <vt:lpstr>実装計画－スケジュール表</vt:lpstr>
      <vt:lpstr>価格見積もり</vt:lpstr>
      <vt:lpstr>結論</vt:lpstr>
      <vt:lpstr>備考</vt:lpstr>
      <vt:lpstr>アーキテクチャ全体 添付ファイルはDaTAVERSE保存（案B）</vt:lpstr>
      <vt:lpstr>POC範囲</vt:lpstr>
      <vt:lpstr>サポートとメンテナンス－瑕疵範囲、保守提案</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3</cp:revision>
  <dcterms:created xsi:type="dcterms:W3CDTF">2023-05-25T05:41:00Z</dcterms:created>
  <dcterms:modified xsi:type="dcterms:W3CDTF">2025-09-19T04:2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